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4"/>
    <p:sldMasterId id="2147483799" r:id="rId5"/>
  </p:sldMasterIdLst>
  <p:notesMasterIdLst>
    <p:notesMasterId r:id="rId41"/>
  </p:notesMasterIdLst>
  <p:handoutMasterIdLst>
    <p:handoutMasterId r:id="rId42"/>
  </p:handoutMasterIdLst>
  <p:sldIdLst>
    <p:sldId id="806" r:id="rId6"/>
    <p:sldId id="829" r:id="rId7"/>
    <p:sldId id="826" r:id="rId8"/>
    <p:sldId id="838" r:id="rId9"/>
    <p:sldId id="827" r:id="rId10"/>
    <p:sldId id="828" r:id="rId11"/>
    <p:sldId id="834" r:id="rId12"/>
    <p:sldId id="830" r:id="rId13"/>
    <p:sldId id="831" r:id="rId14"/>
    <p:sldId id="832" r:id="rId15"/>
    <p:sldId id="833" r:id="rId16"/>
    <p:sldId id="835" r:id="rId17"/>
    <p:sldId id="836" r:id="rId18"/>
    <p:sldId id="837" r:id="rId19"/>
    <p:sldId id="840" r:id="rId20"/>
    <p:sldId id="844" r:id="rId21"/>
    <p:sldId id="845" r:id="rId22"/>
    <p:sldId id="846" r:id="rId23"/>
    <p:sldId id="851" r:id="rId24"/>
    <p:sldId id="852" r:id="rId25"/>
    <p:sldId id="853" r:id="rId26"/>
    <p:sldId id="823" r:id="rId27"/>
    <p:sldId id="847" r:id="rId28"/>
    <p:sldId id="848" r:id="rId29"/>
    <p:sldId id="849" r:id="rId30"/>
    <p:sldId id="850" r:id="rId31"/>
    <p:sldId id="854" r:id="rId32"/>
    <p:sldId id="855" r:id="rId33"/>
    <p:sldId id="856" r:id="rId34"/>
    <p:sldId id="857" r:id="rId35"/>
    <p:sldId id="859" r:id="rId36"/>
    <p:sldId id="858" r:id="rId37"/>
    <p:sldId id="860" r:id="rId38"/>
    <p:sldId id="824" r:id="rId39"/>
    <p:sldId id="825" r:id="rId40"/>
  </p:sldIdLst>
  <p:sldSz cx="9144000" cy="5143500" type="screen16x9"/>
  <p:notesSz cx="6858000" cy="9144000"/>
  <p:defaultTextStyle>
    <a:defPPr>
      <a:defRPr lang="uk-UA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pos="340" userDrawn="1">
          <p15:clr>
            <a:srgbClr val="A4A3A4"/>
          </p15:clr>
        </p15:guide>
        <p15:guide id="4" pos="5420" userDrawn="1">
          <p15:clr>
            <a:srgbClr val="A4A3A4"/>
          </p15:clr>
        </p15:guide>
        <p15:guide id="5" orient="horz" pos="259" userDrawn="1">
          <p15:clr>
            <a:srgbClr val="A4A3A4"/>
          </p15:clr>
        </p15:guide>
        <p15:guide id="6" orient="horz" pos="289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Yurii Vinnik" initials="YV" lastIdx="117" clrIdx="1">
    <p:extLst>
      <p:ext uri="{19B8F6BF-5375-455C-9EA6-DF929625EA0E}">
        <p15:presenceInfo xmlns:p15="http://schemas.microsoft.com/office/powerpoint/2012/main" userId="S-1-5-21-2993636906-1678168282-1182949992-16073" providerId="AD"/>
      </p:ext>
    </p:extLst>
  </p:cmAuthor>
  <p:cmAuthor id="2" name="Andrii Chetvertak" initials="AC" lastIdx="11" clrIdx="2">
    <p:extLst>
      <p:ext uri="{19B8F6BF-5375-455C-9EA6-DF929625EA0E}">
        <p15:presenceInfo xmlns:p15="http://schemas.microsoft.com/office/powerpoint/2012/main" userId="S-1-5-21-2993636906-1678168282-1182949992-16712" providerId="AD"/>
      </p:ext>
    </p:extLst>
  </p:cmAuthor>
  <p:cmAuthor id="3" name="Anton Blotskyi" initials="AB" lastIdx="25" clrIdx="3">
    <p:extLst>
      <p:ext uri="{19B8F6BF-5375-455C-9EA6-DF929625EA0E}">
        <p15:presenceInfo xmlns:p15="http://schemas.microsoft.com/office/powerpoint/2012/main" userId="S-1-5-21-2993636906-1678168282-1182949992-10081" providerId="AD"/>
      </p:ext>
    </p:extLst>
  </p:cmAuthor>
  <p:cmAuthor id="4" name="Liudmyla Kyslenko" initials="LK" lastIdx="7" clrIdx="4">
    <p:extLst>
      <p:ext uri="{19B8F6BF-5375-455C-9EA6-DF929625EA0E}">
        <p15:presenceInfo xmlns:p15="http://schemas.microsoft.com/office/powerpoint/2012/main" userId="S-1-5-21-2993636906-1678168282-1182949992-1796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B4C4C"/>
    <a:srgbClr val="F6F9FC"/>
    <a:srgbClr val="8BC53F"/>
    <a:srgbClr val="2978A1"/>
    <a:srgbClr val="F0CC32"/>
    <a:srgbClr val="BB242A"/>
    <a:srgbClr val="E6E6E6"/>
    <a:srgbClr val="1F5A79"/>
    <a:srgbClr val="79A935"/>
    <a:srgbClr val="69962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38B1855-1B75-4FBE-930C-398BA8C253C6}" styleName="Themed Style 2 - Acc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E269D01E-BC32-4049-B463-5C60D7B0CCD2}" styleName="Themed Style 2 - Acc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327F97BB-C833-4FB7-BDE5-3F7075034690}" styleName="Themed Style 2 - Accent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35" autoAdjust="0"/>
    <p:restoredTop sz="83395" autoAdjust="0"/>
  </p:normalViewPr>
  <p:slideViewPr>
    <p:cSldViewPr snapToGrid="0">
      <p:cViewPr varScale="1">
        <p:scale>
          <a:sx n="155" d="100"/>
          <a:sy n="155" d="100"/>
        </p:scale>
        <p:origin x="370" y="91"/>
      </p:cViewPr>
      <p:guideLst>
        <p:guide orient="horz" pos="1620"/>
        <p:guide pos="2880"/>
        <p:guide pos="340"/>
        <p:guide pos="5420"/>
        <p:guide orient="horz" pos="259"/>
        <p:guide orient="horz" pos="289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20" d="100"/>
        <a:sy n="120" d="100"/>
      </p:scale>
      <p:origin x="0" y="7758"/>
    </p:cViewPr>
  </p:sorterViewPr>
  <p:notesViewPr>
    <p:cSldViewPr snapToGrid="0">
      <p:cViewPr varScale="1">
        <p:scale>
          <a:sx n="88" d="100"/>
          <a:sy n="88" d="100"/>
        </p:scale>
        <p:origin x="3822" y="6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handoutMaster" Target="handoutMasters/handoutMaster1.xml"/><Relationship Id="rId47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uk-UA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01A32D7-2DBF-4329-962E-67276A137B1F}" type="datetimeFigureOut">
              <a:rPr lang="uk-UA" smtClean="0"/>
              <a:t>27.09.2018</a:t>
            </a:fld>
            <a:endParaRPr lang="uk-UA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uk-UA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A48EF97-7B08-424A-AE85-BCA6C3C23027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8781260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uk-U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0311E39-83B8-4A68-A19A-ED7E27AC72DF}" type="datetimeFigureOut">
              <a:rPr lang="uk-UA" smtClean="0"/>
              <a:t>27.09.2018</a:t>
            </a:fld>
            <a:endParaRPr lang="uk-U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uk-U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uk-U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uk-U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D3A563-6F48-439B-B662-BA724FACC5CE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41594317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D3A563-6F48-439B-B662-BA724FACC5CE}" type="slidenum">
              <a:rPr lang="uk-UA" smtClean="0"/>
              <a:t>6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30862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D3A563-6F48-439B-B662-BA724FACC5CE}" type="slidenum">
              <a:rPr lang="uk-UA" smtClean="0"/>
              <a:t>9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1996451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9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Итак, вот пять главных уроков, которые мы вынесли из этого кейса.</a:t>
            </a:r>
          </a:p>
          <a:p>
            <a:pPr lvl="0"/>
            <a:endParaRPr lang="uk-UA" sz="9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D3A563-6F48-439B-B662-BA724FACC5CE}" type="slidenum">
              <a:rPr lang="uk-UA" smtClean="0"/>
              <a:t>22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84402246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9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Итак, вот пять главных уроков, которые мы вынесли из этого кейса.</a:t>
            </a:r>
          </a:p>
          <a:p>
            <a:pPr lvl="0"/>
            <a:endParaRPr lang="uk-UA" sz="9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D3A563-6F48-439B-B662-BA724FACC5CE}" type="slidenum">
              <a:rPr lang="uk-UA" smtClean="0"/>
              <a:t>27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16171556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fontAlgn="t"/>
            <a:r>
              <a:rPr lang="ru-RU" sz="9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место постскриптума </a:t>
            </a:r>
            <a:endParaRPr lang="ru-RU" sz="9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fontAlgn="t"/>
            <a:r>
              <a:rPr lang="ru-RU" sz="9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Можем смело вас заверить – решить можно любую задачу даже в самых сложных случаях. Каким бы большим и сложным ни был ваш бизнес, нужно не бояться проводить изменения. Помните – технологии – это в первую очередь инструмент, и в правильных руках – это залог вашего успеха. </a:t>
            </a:r>
          </a:p>
          <a:p>
            <a:endParaRPr lang="uk-U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D3A563-6F48-439B-B662-BA724FACC5CE}" type="slidenum">
              <a:rPr lang="uk-UA" smtClean="0"/>
              <a:t>34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62918792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D3A563-6F48-439B-B662-BA724FACC5CE}" type="slidenum">
              <a:rPr lang="uk-UA" smtClean="0"/>
              <a:t>35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930639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6: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0000" y="378000"/>
            <a:ext cx="8003232" cy="694516"/>
          </a:xfrm>
        </p:spPr>
        <p:txBody>
          <a:bodyPr tIns="0" rIns="0" bIns="0"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  <a:endParaRPr lang="uk-UA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0475" y="1072516"/>
            <a:ext cx="8003232" cy="3394472"/>
          </a:xfrm>
        </p:spPr>
        <p:txBody>
          <a:bodyPr tIns="0" rIns="0" bIns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02204409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40" userDrawn="1">
          <p15:clr>
            <a:srgbClr val="FBAE40"/>
          </p15:clr>
        </p15:guide>
        <p15:guide id="3" orient="horz" pos="235" userDrawn="1">
          <p15:clr>
            <a:srgbClr val="FBAE40"/>
          </p15:clr>
        </p15:guide>
        <p15:guide id="4" orient="horz" pos="2881" userDrawn="1">
          <p15:clr>
            <a:srgbClr val="FBAE40"/>
          </p15:clr>
        </p15:guide>
        <p15:guide id="5" pos="542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0000" y="378000"/>
            <a:ext cx="8064250" cy="681582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uk-UA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059583"/>
            <a:ext cx="4038600" cy="3456384"/>
          </a:xfrm>
        </p:spPr>
        <p:txBody>
          <a:bodyPr>
            <a:normAutofit/>
          </a:bodyPr>
          <a:lstStyle>
            <a:lvl1pPr>
              <a:defRPr sz="135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uk-UA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059582"/>
            <a:ext cx="4038600" cy="3456385"/>
          </a:xfrm>
        </p:spPr>
        <p:txBody>
          <a:bodyPr>
            <a:normAutofit/>
          </a:bodyPr>
          <a:lstStyle>
            <a:lvl1pPr>
              <a:defRPr sz="135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uk-UA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9426541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t">
            <a:normAutofit/>
          </a:bodyPr>
          <a:lstStyle>
            <a:lvl1pPr marL="0" indent="0">
              <a:buNone/>
              <a:defRPr sz="1800" b="1">
                <a:solidFill>
                  <a:schemeClr val="bg2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884810"/>
          </a:xfrm>
        </p:spPr>
        <p:txBody>
          <a:bodyPr>
            <a:normAutofit/>
          </a:bodyPr>
          <a:lstStyle>
            <a:lvl1pPr>
              <a:defRPr sz="135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uk-U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</p:spPr>
        <p:txBody>
          <a:bodyPr anchor="t">
            <a:normAutofit/>
          </a:bodyPr>
          <a:lstStyle>
            <a:lvl1pPr marL="0" indent="0">
              <a:buNone/>
              <a:defRPr sz="1800" b="1">
                <a:solidFill>
                  <a:schemeClr val="bg2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884810"/>
          </a:xfrm>
        </p:spPr>
        <p:txBody>
          <a:bodyPr/>
          <a:lstStyle>
            <a:lvl1pPr>
              <a:defRPr sz="1350"/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uk-UA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5748172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no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378000"/>
            <a:ext cx="4040188" cy="479822"/>
          </a:xfrm>
        </p:spPr>
        <p:txBody>
          <a:bodyPr anchor="t">
            <a:normAutofit/>
          </a:bodyPr>
          <a:lstStyle>
            <a:lvl1pPr marL="0" indent="0">
              <a:buNone/>
              <a:defRPr sz="1800" b="1">
                <a:solidFill>
                  <a:schemeClr val="bg2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915566"/>
            <a:ext cx="4040188" cy="3600400"/>
          </a:xfrm>
        </p:spPr>
        <p:txBody>
          <a:bodyPr>
            <a:normAutofit/>
          </a:bodyPr>
          <a:lstStyle>
            <a:lvl1pPr>
              <a:defRPr sz="135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uk-U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378000"/>
            <a:ext cx="4041775" cy="479822"/>
          </a:xfrm>
        </p:spPr>
        <p:txBody>
          <a:bodyPr anchor="t">
            <a:normAutofit/>
          </a:bodyPr>
          <a:lstStyle>
            <a:lvl1pPr marL="0" indent="0">
              <a:buNone/>
              <a:defRPr sz="1800" b="1">
                <a:solidFill>
                  <a:schemeClr val="bg2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915566"/>
            <a:ext cx="4041775" cy="3600400"/>
          </a:xfrm>
        </p:spPr>
        <p:txBody>
          <a:bodyPr/>
          <a:lstStyle>
            <a:lvl1pPr>
              <a:defRPr sz="1350"/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uk-UA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4488084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0144720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9171772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ean_Last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" y="-1"/>
            <a:ext cx="9144113" cy="51435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D:\Work\! works in progress\141121-infopulse-presentation-lean\temp\! PNG\ip_lean_007_01_logo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9634" y="4748081"/>
            <a:ext cx="1162048" cy="2254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itle 1"/>
          <p:cNvSpPr txBox="1">
            <a:spLocks/>
          </p:cNvSpPr>
          <p:nvPr userDrawn="1"/>
        </p:nvSpPr>
        <p:spPr>
          <a:xfrm>
            <a:off x="323528" y="4894008"/>
            <a:ext cx="1512168" cy="235441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563" dirty="0" smtClean="0">
                <a:solidFill>
                  <a:schemeClr val="bg1"/>
                </a:solidFill>
              </a:rPr>
              <a:t>    </a:t>
            </a:r>
            <a:r>
              <a:rPr lang="en-US" sz="548" dirty="0" smtClean="0">
                <a:solidFill>
                  <a:schemeClr val="bg1"/>
                </a:solidFill>
              </a:rPr>
              <a:t>A part of Nordic IT group EVRY</a:t>
            </a:r>
            <a:endParaRPr lang="uk-UA" sz="548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20979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2" Type="http://schemas.openxmlformats.org/officeDocument/2006/relationships/vmlDrawing" Target="../drawings/vmlDrawing1.vml"/><Relationship Id="rId1" Type="http://schemas.openxmlformats.org/officeDocument/2006/relationships/theme" Target="../theme/theme2.x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0000" y="378000"/>
            <a:ext cx="8064250" cy="857250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lang="uk-UA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0000" y="1200151"/>
            <a:ext cx="8064250" cy="3394472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uk-UA" dirty="0"/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8982000" y="595"/>
            <a:ext cx="162000" cy="5142905"/>
            <a:chOff x="11976000" y="794"/>
            <a:chExt cx="216000" cy="6884072"/>
          </a:xfrm>
        </p:grpSpPr>
        <p:sp>
          <p:nvSpPr>
            <p:cNvPr id="13" name="Rectangle 12"/>
            <p:cNvSpPr/>
            <p:nvPr userDrawn="1"/>
          </p:nvSpPr>
          <p:spPr>
            <a:xfrm>
              <a:off x="11976000" y="794"/>
              <a:ext cx="216000" cy="691902"/>
            </a:xfrm>
            <a:prstGeom prst="rect">
              <a:avLst/>
            </a:prstGeom>
            <a:solidFill>
              <a:srgbClr val="2978A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11976000" y="692696"/>
              <a:ext cx="216000" cy="69190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  <p:sp>
          <p:nvSpPr>
            <p:cNvPr id="15" name="Rectangle 14"/>
            <p:cNvSpPr/>
            <p:nvPr userDrawn="1"/>
          </p:nvSpPr>
          <p:spPr>
            <a:xfrm>
              <a:off x="11976000" y="1384598"/>
              <a:ext cx="216000" cy="691902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  <p:sp>
          <p:nvSpPr>
            <p:cNvPr id="16" name="Rectangle 15"/>
            <p:cNvSpPr/>
            <p:nvPr userDrawn="1"/>
          </p:nvSpPr>
          <p:spPr>
            <a:xfrm>
              <a:off x="11976000" y="2076500"/>
              <a:ext cx="216000" cy="691902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11976000" y="2737495"/>
              <a:ext cx="216000" cy="69190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11976000" y="3429000"/>
              <a:ext cx="216000" cy="691902"/>
            </a:xfrm>
            <a:prstGeom prst="rect">
              <a:avLst/>
            </a:prstGeom>
            <a:solidFill>
              <a:srgbClr val="ACD37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  <p:sp>
          <p:nvSpPr>
            <p:cNvPr id="19" name="Rectangle 18"/>
            <p:cNvSpPr/>
            <p:nvPr userDrawn="1"/>
          </p:nvSpPr>
          <p:spPr>
            <a:xfrm>
              <a:off x="11976000" y="4120902"/>
              <a:ext cx="216000" cy="691902"/>
            </a:xfrm>
            <a:prstGeom prst="rect">
              <a:avLst/>
            </a:prstGeom>
            <a:solidFill>
              <a:srgbClr val="9ECB5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  <p:sp>
          <p:nvSpPr>
            <p:cNvPr id="20" name="Rectangle 19"/>
            <p:cNvSpPr/>
            <p:nvPr userDrawn="1"/>
          </p:nvSpPr>
          <p:spPr>
            <a:xfrm>
              <a:off x="11976000" y="4812407"/>
              <a:ext cx="216000" cy="691902"/>
            </a:xfrm>
            <a:prstGeom prst="rect">
              <a:avLst/>
            </a:prstGeom>
            <a:solidFill>
              <a:srgbClr val="8CC5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  <p:sp>
          <p:nvSpPr>
            <p:cNvPr id="21" name="Rectangle 20"/>
            <p:cNvSpPr/>
            <p:nvPr userDrawn="1"/>
          </p:nvSpPr>
          <p:spPr>
            <a:xfrm>
              <a:off x="11976000" y="5504309"/>
              <a:ext cx="216000" cy="691902"/>
            </a:xfrm>
            <a:prstGeom prst="rect">
              <a:avLst/>
            </a:prstGeom>
            <a:solidFill>
              <a:srgbClr val="73B34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  <p:sp>
          <p:nvSpPr>
            <p:cNvPr id="22" name="Rectangle 21"/>
            <p:cNvSpPr/>
            <p:nvPr userDrawn="1"/>
          </p:nvSpPr>
          <p:spPr>
            <a:xfrm>
              <a:off x="11976000" y="6192964"/>
              <a:ext cx="216000" cy="691902"/>
            </a:xfrm>
            <a:prstGeom prst="rect">
              <a:avLst/>
            </a:prstGeom>
            <a:solidFill>
              <a:srgbClr val="629E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</p:grpSp>
      <p:pic>
        <p:nvPicPr>
          <p:cNvPr id="24" name="Picture 37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0000" y="4731990"/>
            <a:ext cx="911729" cy="238419"/>
          </a:xfrm>
          <a:prstGeom prst="rect">
            <a:avLst/>
          </a:prstGeom>
        </p:spPr>
      </p:pic>
      <p:sp>
        <p:nvSpPr>
          <p:cNvPr id="25" name="Title 1"/>
          <p:cNvSpPr txBox="1">
            <a:spLocks/>
          </p:cNvSpPr>
          <p:nvPr userDrawn="1"/>
        </p:nvSpPr>
        <p:spPr>
          <a:xfrm>
            <a:off x="413844" y="4947696"/>
            <a:ext cx="1164041" cy="147797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600" dirty="0">
                <a:solidFill>
                  <a:schemeClr val="tx1"/>
                </a:solidFill>
              </a:rPr>
              <a:t>A part of Nordic IT group EVRY</a:t>
            </a:r>
            <a:endParaRPr lang="uk-UA" sz="600" dirty="0">
              <a:solidFill>
                <a:schemeClr val="tx1"/>
              </a:solidFill>
            </a:endParaRPr>
          </a:p>
        </p:txBody>
      </p:sp>
      <p:sp>
        <p:nvSpPr>
          <p:cNvPr id="27" name="Slide Number Placeholder 3"/>
          <p:cNvSpPr txBox="1">
            <a:spLocks/>
          </p:cNvSpPr>
          <p:nvPr userDrawn="1"/>
        </p:nvSpPr>
        <p:spPr>
          <a:xfrm>
            <a:off x="6553200" y="4767265"/>
            <a:ext cx="2133600" cy="273844"/>
          </a:xfrm>
          <a:prstGeom prst="rect">
            <a:avLst/>
          </a:prstGeom>
        </p:spPr>
        <p:txBody>
          <a:bodyPr vert="horz" lIns="68580" tIns="34290" rIns="108000" bIns="34290" rtlCol="0" anchor="ctr"/>
          <a:lstStyle>
            <a:defPPr>
              <a:defRPr lang="uk-UA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C718AD-D389-46D5-9DF9-84F48DA39AAA}" type="slidenum">
              <a:rPr kumimoji="0" lang="uk-UA" sz="675" b="0" i="0" u="none" strike="noStrike" kern="1200" cap="none" spc="0" normalizeH="0" baseline="0" noProof="0" smtClean="0">
                <a:ln>
                  <a:noFill/>
                </a:ln>
                <a:solidFill>
                  <a:srgbClr val="4B4C4C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uk-UA" sz="675" b="0" i="0" u="none" strike="noStrike" kern="1200" cap="none" spc="0" normalizeH="0" baseline="0" noProof="0" dirty="0">
              <a:ln>
                <a:noFill/>
              </a:ln>
              <a:solidFill>
                <a:srgbClr val="4B4C4C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" name="Plassholder for tekst 14"/>
          <p:cNvSpPr txBox="1">
            <a:spLocks/>
          </p:cNvSpPr>
          <p:nvPr userDrawn="1"/>
        </p:nvSpPr>
        <p:spPr>
          <a:xfrm>
            <a:off x="540000" y="4572572"/>
            <a:ext cx="8064250" cy="3600"/>
          </a:xfrm>
          <a:prstGeom prst="rect">
            <a:avLst/>
          </a:prstGeom>
          <a:solidFill>
            <a:srgbClr val="4B4C4C"/>
          </a:solidFill>
        </p:spPr>
        <p:txBody>
          <a:bodyPr>
            <a:normAutofit fontScale="25000" lnSpcReduction="20000"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52000" indent="-126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78000" indent="-126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04000" indent="-126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7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630000" indent="-126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631572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4" r:id="rId2"/>
    <p:sldLayoutId id="2147483665" r:id="rId3"/>
    <p:sldLayoutId id="2147483807" r:id="rId4"/>
    <p:sldLayoutId id="2147483666" r:id="rId5"/>
    <p:sldLayoutId id="2147483667" r:id="rId6"/>
    <p:sldLayoutId id="2147483808" r:id="rId7"/>
  </p:sldLayoutIdLst>
  <p:hf hdr="0" ftr="0" dt="0"/>
  <p:txStyles>
    <p:titleStyle>
      <a:lvl1pPr algn="l" defTabSz="685800" rtl="0" eaLnBrk="1" latinLnBrk="0" hangingPunct="1">
        <a:spcBef>
          <a:spcPct val="0"/>
        </a:spcBef>
        <a:buNone/>
        <a:defRPr sz="2400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33350" indent="-133350" algn="l" defTabSz="6858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470297" indent="-127397" algn="l" defTabSz="6858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808435" indent="-122635" algn="l" defTabSz="6858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146572" indent="-117872" algn="l" defTabSz="6858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484710" indent="-113110" algn="l" defTabSz="6858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uk-UA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40" userDrawn="1">
          <p15:clr>
            <a:srgbClr val="F26B43"/>
          </p15:clr>
        </p15:guide>
        <p15:guide id="2" pos="5420" userDrawn="1">
          <p15:clr>
            <a:srgbClr val="F26B43"/>
          </p15:clr>
        </p15:guide>
        <p15:guide id="3" orient="horz" pos="259" userDrawn="1">
          <p15:clr>
            <a:srgbClr val="F26B43"/>
          </p15:clr>
        </p15:guide>
        <p15:guide id="4" orient="horz" pos="2799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6" name="Plassholder for tekst 14"/>
          <p:cNvSpPr txBox="1">
            <a:spLocks/>
          </p:cNvSpPr>
          <p:nvPr/>
        </p:nvSpPr>
        <p:spPr>
          <a:xfrm>
            <a:off x="540000" y="4572572"/>
            <a:ext cx="8064250" cy="3600"/>
          </a:xfrm>
          <a:prstGeom prst="rect">
            <a:avLst/>
          </a:prstGeom>
          <a:solidFill>
            <a:srgbClr val="063954"/>
          </a:solidFill>
        </p:spPr>
        <p:txBody>
          <a:bodyPr>
            <a:normAutofit fontScale="25000" lnSpcReduction="20000"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52000" indent="-126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78000" indent="-126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04000" indent="-126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7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630000" indent="-126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 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40000" y="4765664"/>
            <a:ext cx="180000" cy="923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600">
                <a:solidFill>
                  <a:srgbClr val="698898"/>
                </a:solidFill>
                <a:latin typeface="+mn-lt"/>
              </a:defRPr>
            </a:lvl1pPr>
          </a:lstStyle>
          <a:p>
            <a:fld id="{7766E8B7-50FC-48D4-B5AD-275A23A4E856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75" name="Bilde 7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9200" y="4683600"/>
            <a:ext cx="523727" cy="2784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0684732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685800" rtl="0" eaLnBrk="1" latinLnBrk="0" hangingPunct="1">
        <a:lnSpc>
          <a:spcPct val="110000"/>
        </a:lnSpc>
        <a:spcBef>
          <a:spcPts val="0"/>
        </a:spcBef>
        <a:buNone/>
        <a:defRPr sz="2000" b="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26000" indent="-126000" algn="l" defTabSz="6858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Char char="•"/>
        <a:defRPr sz="1300" kern="1200">
          <a:solidFill>
            <a:schemeClr val="tx2"/>
          </a:solidFill>
          <a:latin typeface="+mn-lt"/>
          <a:ea typeface="+mn-ea"/>
          <a:cs typeface="+mn-cs"/>
        </a:defRPr>
      </a:lvl1pPr>
      <a:lvl2pPr marL="252000" indent="-126000" algn="l" defTabSz="6858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Char char="•"/>
        <a:defRPr sz="1100" kern="1200">
          <a:solidFill>
            <a:schemeClr val="tx2"/>
          </a:solidFill>
          <a:latin typeface="+mn-lt"/>
          <a:ea typeface="+mn-ea"/>
          <a:cs typeface="+mn-cs"/>
        </a:defRPr>
      </a:lvl2pPr>
      <a:lvl3pPr marL="378000" indent="-126000" algn="l" defTabSz="6858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+mn-cs"/>
        </a:defRPr>
      </a:lvl3pPr>
      <a:lvl4pPr marL="504000" indent="-126000" algn="l" defTabSz="6858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Char char="•"/>
        <a:defRPr sz="950" kern="1200">
          <a:solidFill>
            <a:schemeClr val="tx2"/>
          </a:solidFill>
          <a:latin typeface="+mn-lt"/>
          <a:ea typeface="+mn-ea"/>
          <a:cs typeface="+mn-cs"/>
        </a:defRPr>
      </a:lvl4pPr>
      <a:lvl5pPr marL="630000" indent="-126000" algn="l" defTabSz="6858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Char char="•"/>
        <a:defRPr sz="900" kern="1200">
          <a:solidFill>
            <a:schemeClr val="tx2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3" pos="340">
          <p15:clr>
            <a:srgbClr val="F26B43"/>
          </p15:clr>
        </p15:guide>
        <p15:guide id="10" pos="5420">
          <p15:clr>
            <a:srgbClr val="F26B43"/>
          </p15:clr>
        </p15:guide>
        <p15:guide id="18" orient="horz" pos="2890" userDrawn="1">
          <p15:clr>
            <a:srgbClr val="F26B43"/>
          </p15:clr>
        </p15:guide>
        <p15:guide id="19" pos="2359">
          <p15:clr>
            <a:srgbClr val="F26B43"/>
          </p15:clr>
        </p15:guide>
        <p15:guide id="20" pos="2993">
          <p15:clr>
            <a:srgbClr val="F26B43"/>
          </p15:clr>
        </p15:guide>
        <p15:guide id="21" pos="2767">
          <p15:clr>
            <a:srgbClr val="F26B43"/>
          </p15:clr>
        </p15:guide>
        <p15:guide id="23" orient="horz" pos="2799" userDrawn="1">
          <p15:clr>
            <a:srgbClr val="F26B43"/>
          </p15:clr>
        </p15:guide>
        <p15:guide id="24" orient="horz" pos="972">
          <p15:clr>
            <a:srgbClr val="F26B43"/>
          </p15:clr>
        </p15:guide>
        <p15:guide id="25" orient="horz" pos="214" userDrawn="1">
          <p15:clr>
            <a:srgbClr val="F26B43"/>
          </p15:clr>
        </p15:guide>
        <p15:guide id="26" orient="horz" pos="95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hyperlink" Target="http://localhost:port-number/api/messages" TargetMode="External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hyperlink" Target="https://docs.microsoft.com/en-us/azure/bot-service/nodejs/bot-builder-nodejs-dialog-manage-conversation-flow?view=azure-bot-service-3.0" TargetMode="External"/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hyperlink" Target="https://botlab28.azurewebsites.net/api/messages" TargetMode="External"/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hyperlink" Target="https://portal.azure.com/" TargetMode="External"/><Relationship Id="rId3" Type="http://schemas.openxmlformats.org/officeDocument/2006/relationships/hyperlink" Target="https://github.com/" TargetMode="External"/><Relationship Id="rId7" Type="http://schemas.openxmlformats.org/officeDocument/2006/relationships/hyperlink" Target="https://www.mongodb.com/" TargetMode="External"/><Relationship Id="rId2" Type="http://schemas.openxmlformats.org/officeDocument/2006/relationships/hyperlink" Target="https://git-scm.com/downloads" TargetMode="External"/><Relationship Id="rId1" Type="http://schemas.openxmlformats.org/officeDocument/2006/relationships/slideLayout" Target="../slideLayouts/slideLayout1.xml"/><Relationship Id="rId6" Type="http://schemas.openxmlformats.org/officeDocument/2006/relationships/hyperlink" Target="https://code.visualstudio.com/download" TargetMode="External"/><Relationship Id="rId5" Type="http://schemas.openxmlformats.org/officeDocument/2006/relationships/hyperlink" Target="https://github.com/Microsoft/BotFramework-Emulator/releases" TargetMode="External"/><Relationship Id="rId4" Type="http://schemas.openxmlformats.org/officeDocument/2006/relationships/hyperlink" Target="https://nodejs.org/" TargetMode="Externa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9.png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28.jpeg"/><Relationship Id="rId7" Type="http://schemas.openxmlformats.org/officeDocument/2006/relationships/image" Target="../media/image3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2.png"/><Relationship Id="rId11" Type="http://schemas.openxmlformats.org/officeDocument/2006/relationships/image" Target="../media/image36.png"/><Relationship Id="rId5" Type="http://schemas.openxmlformats.org/officeDocument/2006/relationships/image" Target="../media/image31.png"/><Relationship Id="rId10" Type="http://schemas.openxmlformats.org/officeDocument/2006/relationships/image" Target="../media/image35.png"/><Relationship Id="rId4" Type="http://schemas.openxmlformats.org/officeDocument/2006/relationships/image" Target="../media/image30.png"/><Relationship Id="rId9" Type="http://schemas.openxmlformats.org/officeDocument/2006/relationships/image" Target="../media/image34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Valerii-Poliakov/BotLab.git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Picture 3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02" b="7802"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40" name="Rectangle 39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gradFill>
            <a:gsLst>
              <a:gs pos="0">
                <a:schemeClr val="tx2">
                  <a:alpha val="40000"/>
                </a:schemeClr>
              </a:gs>
              <a:gs pos="100000">
                <a:schemeClr val="accent1">
                  <a:alpha val="80000"/>
                </a:schemeClr>
              </a:gs>
            </a:gsLst>
            <a:lin ang="12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/>
          <p:cNvSpPr/>
          <p:nvPr/>
        </p:nvSpPr>
        <p:spPr>
          <a:xfrm>
            <a:off x="539750" y="1450727"/>
            <a:ext cx="5129530" cy="1104805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/>
          <a:p>
            <a:endParaRPr lang="en-US" sz="3200" dirty="0" smtClean="0">
              <a:solidFill>
                <a:schemeClr val="bg1"/>
              </a:solidFill>
            </a:endParaRPr>
          </a:p>
          <a:p>
            <a:r>
              <a:rPr lang="en-US" sz="3200" dirty="0" smtClean="0">
                <a:solidFill>
                  <a:schemeClr val="bg1"/>
                </a:solidFill>
              </a:rPr>
              <a:t>MS Bot Framework</a:t>
            </a:r>
            <a:endParaRPr lang="en-US" sz="3200" dirty="0">
              <a:solidFill>
                <a:schemeClr val="bg1"/>
              </a:solidFill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539750" y="2871571"/>
            <a:ext cx="5815330" cy="703061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/>
          <a:p>
            <a:pPr lvl="0"/>
            <a:r>
              <a:rPr lang="uk-UA" sz="1400" b="1" dirty="0" err="1" smtClean="0">
                <a:solidFill>
                  <a:schemeClr val="bg1"/>
                </a:solidFill>
              </a:rPr>
              <a:t>Валерий</a:t>
            </a:r>
            <a:r>
              <a:rPr lang="uk-UA" sz="1400" b="1" dirty="0" smtClean="0">
                <a:solidFill>
                  <a:schemeClr val="bg1"/>
                </a:solidFill>
              </a:rPr>
              <a:t> Поляков,</a:t>
            </a:r>
            <a:r>
              <a:rPr lang="uk-UA" sz="1400" dirty="0" smtClean="0">
                <a:solidFill>
                  <a:schemeClr val="bg1"/>
                </a:solidFill>
              </a:rPr>
              <a:t> </a:t>
            </a:r>
            <a:r>
              <a:rPr lang="ru-RU" sz="1400" dirty="0" smtClean="0">
                <a:solidFill>
                  <a:schemeClr val="bg1"/>
                </a:solidFill>
              </a:rPr>
              <a:t>аналитик</a:t>
            </a:r>
            <a:r>
              <a:rPr lang="en-US" sz="1400" dirty="0" smtClean="0">
                <a:solidFill>
                  <a:schemeClr val="bg1"/>
                </a:solidFill>
              </a:rPr>
              <a:t>, </a:t>
            </a:r>
            <a:r>
              <a:rPr lang="en-US" sz="1400" dirty="0">
                <a:solidFill>
                  <a:schemeClr val="bg1"/>
                </a:solidFill>
              </a:rPr>
              <a:t>Cognitive </a:t>
            </a:r>
            <a:r>
              <a:rPr lang="uk-UA" sz="1400" dirty="0" err="1" smtClean="0">
                <a:solidFill>
                  <a:schemeClr val="bg1"/>
                </a:solidFill>
              </a:rPr>
              <a:t>отдел</a:t>
            </a:r>
            <a:r>
              <a:rPr lang="uk-UA" sz="1400" dirty="0" smtClean="0">
                <a:solidFill>
                  <a:schemeClr val="bg1"/>
                </a:solidFill>
              </a:rPr>
              <a:t>, </a:t>
            </a:r>
            <a:r>
              <a:rPr lang="en-US" sz="1400" dirty="0">
                <a:solidFill>
                  <a:schemeClr val="bg1"/>
                </a:solidFill>
              </a:rPr>
              <a:t>EVRY Ukraine </a:t>
            </a:r>
          </a:p>
        </p:txBody>
      </p:sp>
      <p:cxnSp>
        <p:nvCxnSpPr>
          <p:cNvPr id="6" name="Straight Connector 5"/>
          <p:cNvCxnSpPr/>
          <p:nvPr/>
        </p:nvCxnSpPr>
        <p:spPr>
          <a:xfrm>
            <a:off x="551877" y="2681238"/>
            <a:ext cx="306000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/>
          <p:cNvSpPr/>
          <p:nvPr/>
        </p:nvSpPr>
        <p:spPr>
          <a:xfrm>
            <a:off x="6816090" y="1"/>
            <a:ext cx="1788160" cy="1710690"/>
          </a:xfrm>
          <a:custGeom>
            <a:avLst/>
            <a:gdLst>
              <a:gd name="connsiteX0" fmla="*/ 0 w 1788160"/>
              <a:gd name="connsiteY0" fmla="*/ 0 h 1450727"/>
              <a:gd name="connsiteX1" fmla="*/ 1788160 w 1788160"/>
              <a:gd name="connsiteY1" fmla="*/ 0 h 1450727"/>
              <a:gd name="connsiteX2" fmla="*/ 1788160 w 1788160"/>
              <a:gd name="connsiteY2" fmla="*/ 1450727 h 1450727"/>
              <a:gd name="connsiteX3" fmla="*/ 0 w 1788160"/>
              <a:gd name="connsiteY3" fmla="*/ 1450727 h 1450727"/>
              <a:gd name="connsiteX4" fmla="*/ 0 w 1788160"/>
              <a:gd name="connsiteY4" fmla="*/ 0 h 1450727"/>
              <a:gd name="connsiteX0" fmla="*/ 0 w 1788160"/>
              <a:gd name="connsiteY0" fmla="*/ 0 h 1450727"/>
              <a:gd name="connsiteX1" fmla="*/ 1788160 w 1788160"/>
              <a:gd name="connsiteY1" fmla="*/ 0 h 1450727"/>
              <a:gd name="connsiteX2" fmla="*/ 1788160 w 1788160"/>
              <a:gd name="connsiteY2" fmla="*/ 1450727 h 1450727"/>
              <a:gd name="connsiteX3" fmla="*/ 914400 w 1788160"/>
              <a:gd name="connsiteY3" fmla="*/ 1449705 h 1450727"/>
              <a:gd name="connsiteX4" fmla="*/ 0 w 1788160"/>
              <a:gd name="connsiteY4" fmla="*/ 1450727 h 1450727"/>
              <a:gd name="connsiteX5" fmla="*/ 0 w 1788160"/>
              <a:gd name="connsiteY5" fmla="*/ 0 h 1450727"/>
              <a:gd name="connsiteX0" fmla="*/ 0 w 1788160"/>
              <a:gd name="connsiteY0" fmla="*/ 0 h 1450727"/>
              <a:gd name="connsiteX1" fmla="*/ 1788160 w 1788160"/>
              <a:gd name="connsiteY1" fmla="*/ 0 h 1450727"/>
              <a:gd name="connsiteX2" fmla="*/ 1788160 w 1788160"/>
              <a:gd name="connsiteY2" fmla="*/ 1450727 h 1450727"/>
              <a:gd name="connsiteX3" fmla="*/ 914400 w 1788160"/>
              <a:gd name="connsiteY3" fmla="*/ 1449705 h 1450727"/>
              <a:gd name="connsiteX4" fmla="*/ 0 w 1788160"/>
              <a:gd name="connsiteY4" fmla="*/ 1450727 h 1450727"/>
              <a:gd name="connsiteX5" fmla="*/ 0 w 1788160"/>
              <a:gd name="connsiteY5" fmla="*/ 0 h 1450727"/>
              <a:gd name="connsiteX0" fmla="*/ 0 w 1788160"/>
              <a:gd name="connsiteY0" fmla="*/ 0 h 1710690"/>
              <a:gd name="connsiteX1" fmla="*/ 1788160 w 1788160"/>
              <a:gd name="connsiteY1" fmla="*/ 0 h 1710690"/>
              <a:gd name="connsiteX2" fmla="*/ 1788160 w 1788160"/>
              <a:gd name="connsiteY2" fmla="*/ 1450727 h 1710690"/>
              <a:gd name="connsiteX3" fmla="*/ 908685 w 1788160"/>
              <a:gd name="connsiteY3" fmla="*/ 1710690 h 1710690"/>
              <a:gd name="connsiteX4" fmla="*/ 0 w 1788160"/>
              <a:gd name="connsiteY4" fmla="*/ 1450727 h 1710690"/>
              <a:gd name="connsiteX5" fmla="*/ 0 w 1788160"/>
              <a:gd name="connsiteY5" fmla="*/ 0 h 17106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88160" h="1710690">
                <a:moveTo>
                  <a:pt x="0" y="0"/>
                </a:moveTo>
                <a:lnTo>
                  <a:pt x="1788160" y="0"/>
                </a:lnTo>
                <a:lnTo>
                  <a:pt x="1788160" y="1450727"/>
                </a:lnTo>
                <a:lnTo>
                  <a:pt x="908685" y="1710690"/>
                </a:lnTo>
                <a:lnTo>
                  <a:pt x="0" y="1450727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/>
          </a:p>
        </p:txBody>
      </p:sp>
      <p:sp>
        <p:nvSpPr>
          <p:cNvPr id="20" name="Rectangle 19"/>
          <p:cNvSpPr/>
          <p:nvPr/>
        </p:nvSpPr>
        <p:spPr>
          <a:xfrm>
            <a:off x="6816090" y="322655"/>
            <a:ext cx="1788160" cy="361211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algn="ctr"/>
            <a:r>
              <a:rPr lang="en-US" sz="1100" dirty="0" smtClean="0">
                <a:solidFill>
                  <a:schemeClr val="bg1"/>
                </a:solidFill>
              </a:rPr>
              <a:t>Workshop.</a:t>
            </a:r>
          </a:p>
          <a:p>
            <a:pPr algn="ctr"/>
            <a:r>
              <a:rPr lang="en-US" sz="1400" b="1" dirty="0" smtClean="0">
                <a:solidFill>
                  <a:schemeClr val="bg1"/>
                </a:solidFill>
              </a:rPr>
              <a:t>MS Bot Framework</a:t>
            </a:r>
            <a:r>
              <a:rPr lang="uk-UA" sz="1400" b="1" dirty="0" smtClean="0">
                <a:solidFill>
                  <a:schemeClr val="bg1"/>
                </a:solidFill>
              </a:rPr>
              <a:t> </a:t>
            </a:r>
            <a:endParaRPr lang="en-US" sz="1400" b="1" dirty="0" smtClean="0">
              <a:solidFill>
                <a:schemeClr val="bg1"/>
              </a:solidFill>
            </a:endParaRPr>
          </a:p>
          <a:p>
            <a:pPr algn="ctr"/>
            <a:r>
              <a:rPr lang="en-US" sz="1400" b="1" dirty="0" smtClean="0">
                <a:solidFill>
                  <a:schemeClr val="bg1"/>
                </a:solidFill>
              </a:rPr>
              <a:t>Face API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539750" y="3546169"/>
            <a:ext cx="1376286" cy="237744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/>
          <a:p>
            <a:pPr>
              <a:spcAft>
                <a:spcPts val="600"/>
              </a:spcAft>
            </a:pPr>
            <a:fld id="{88D74FE3-7EF7-40B6-A5B3-725395027989}" type="datetime4">
              <a:rPr lang="en-US" sz="1200" i="1">
                <a:solidFill>
                  <a:schemeClr val="bg1"/>
                </a:solidFill>
              </a:rPr>
              <a:pPr>
                <a:spcAft>
                  <a:spcPts val="600"/>
                </a:spcAft>
              </a:pPr>
              <a:t>September 27, 2018</a:t>
            </a:fld>
            <a:endParaRPr lang="en-US" sz="1200" i="1" dirty="0">
              <a:solidFill>
                <a:schemeClr val="bg1"/>
              </a:solidFill>
            </a:endParaRPr>
          </a:p>
        </p:txBody>
      </p:sp>
      <p:grpSp>
        <p:nvGrpSpPr>
          <p:cNvPr id="22" name="Group 21"/>
          <p:cNvGrpSpPr/>
          <p:nvPr/>
        </p:nvGrpSpPr>
        <p:grpSpPr>
          <a:xfrm>
            <a:off x="7167518" y="1179259"/>
            <a:ext cx="1085305" cy="271468"/>
            <a:chOff x="611560" y="3553563"/>
            <a:chExt cx="5215086" cy="1304453"/>
          </a:xfrm>
          <a:solidFill>
            <a:schemeClr val="bg1"/>
          </a:solidFill>
        </p:grpSpPr>
        <p:sp>
          <p:nvSpPr>
            <p:cNvPr id="23" name="Freeform 192"/>
            <p:cNvSpPr>
              <a:spLocks/>
            </p:cNvSpPr>
            <p:nvPr/>
          </p:nvSpPr>
          <p:spPr bwMode="auto">
            <a:xfrm>
              <a:off x="611560" y="3566289"/>
              <a:ext cx="229984" cy="229983"/>
            </a:xfrm>
            <a:custGeom>
              <a:avLst/>
              <a:gdLst>
                <a:gd name="T0" fmla="*/ 253 w 253"/>
                <a:gd name="T1" fmla="*/ 126 h 253"/>
                <a:gd name="T2" fmla="*/ 251 w 253"/>
                <a:gd name="T3" fmla="*/ 152 h 253"/>
                <a:gd name="T4" fmla="*/ 244 w 253"/>
                <a:gd name="T5" fmla="*/ 175 h 253"/>
                <a:gd name="T6" fmla="*/ 232 w 253"/>
                <a:gd name="T7" fmla="*/ 197 h 253"/>
                <a:gd name="T8" fmla="*/ 216 w 253"/>
                <a:gd name="T9" fmla="*/ 216 h 253"/>
                <a:gd name="T10" fmla="*/ 198 w 253"/>
                <a:gd name="T11" fmla="*/ 232 h 253"/>
                <a:gd name="T12" fmla="*/ 177 w 253"/>
                <a:gd name="T13" fmla="*/ 243 h 253"/>
                <a:gd name="T14" fmla="*/ 152 w 253"/>
                <a:gd name="T15" fmla="*/ 250 h 253"/>
                <a:gd name="T16" fmla="*/ 128 w 253"/>
                <a:gd name="T17" fmla="*/ 253 h 253"/>
                <a:gd name="T18" fmla="*/ 114 w 253"/>
                <a:gd name="T19" fmla="*/ 253 h 253"/>
                <a:gd name="T20" fmla="*/ 89 w 253"/>
                <a:gd name="T21" fmla="*/ 247 h 253"/>
                <a:gd name="T22" fmla="*/ 67 w 253"/>
                <a:gd name="T23" fmla="*/ 238 h 253"/>
                <a:gd name="T24" fmla="*/ 46 w 253"/>
                <a:gd name="T25" fmla="*/ 225 h 253"/>
                <a:gd name="T26" fmla="*/ 30 w 253"/>
                <a:gd name="T27" fmla="*/ 207 h 253"/>
                <a:gd name="T28" fmla="*/ 15 w 253"/>
                <a:gd name="T29" fmla="*/ 186 h 253"/>
                <a:gd name="T30" fmla="*/ 7 w 253"/>
                <a:gd name="T31" fmla="*/ 164 h 253"/>
                <a:gd name="T32" fmla="*/ 2 w 253"/>
                <a:gd name="T33" fmla="*/ 139 h 253"/>
                <a:gd name="T34" fmla="*/ 0 w 253"/>
                <a:gd name="T35" fmla="*/ 126 h 253"/>
                <a:gd name="T36" fmla="*/ 3 w 253"/>
                <a:gd name="T37" fmla="*/ 101 h 253"/>
                <a:gd name="T38" fmla="*/ 10 w 253"/>
                <a:gd name="T39" fmla="*/ 78 h 253"/>
                <a:gd name="T40" fmla="*/ 23 w 253"/>
                <a:gd name="T41" fmla="*/ 55 h 253"/>
                <a:gd name="T42" fmla="*/ 37 w 253"/>
                <a:gd name="T43" fmla="*/ 37 h 253"/>
                <a:gd name="T44" fmla="*/ 56 w 253"/>
                <a:gd name="T45" fmla="*/ 21 h 253"/>
                <a:gd name="T46" fmla="*/ 78 w 253"/>
                <a:gd name="T47" fmla="*/ 10 h 253"/>
                <a:gd name="T48" fmla="*/ 102 w 253"/>
                <a:gd name="T49" fmla="*/ 2 h 253"/>
                <a:gd name="T50" fmla="*/ 128 w 253"/>
                <a:gd name="T51" fmla="*/ 0 h 253"/>
                <a:gd name="T52" fmla="*/ 140 w 253"/>
                <a:gd name="T53" fmla="*/ 0 h 253"/>
                <a:gd name="T54" fmla="*/ 165 w 253"/>
                <a:gd name="T55" fmla="*/ 5 h 253"/>
                <a:gd name="T56" fmla="*/ 188 w 253"/>
                <a:gd name="T57" fmla="*/ 15 h 253"/>
                <a:gd name="T58" fmla="*/ 208 w 253"/>
                <a:gd name="T59" fmla="*/ 28 h 253"/>
                <a:gd name="T60" fmla="*/ 225 w 253"/>
                <a:gd name="T61" fmla="*/ 46 h 253"/>
                <a:gd name="T62" fmla="*/ 239 w 253"/>
                <a:gd name="T63" fmla="*/ 67 h 253"/>
                <a:gd name="T64" fmla="*/ 249 w 253"/>
                <a:gd name="T65" fmla="*/ 89 h 253"/>
                <a:gd name="T66" fmla="*/ 253 w 253"/>
                <a:gd name="T67" fmla="*/ 113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53" h="253">
                  <a:moveTo>
                    <a:pt x="253" y="126"/>
                  </a:moveTo>
                  <a:lnTo>
                    <a:pt x="253" y="126"/>
                  </a:lnTo>
                  <a:lnTo>
                    <a:pt x="253" y="139"/>
                  </a:lnTo>
                  <a:lnTo>
                    <a:pt x="251" y="152"/>
                  </a:lnTo>
                  <a:lnTo>
                    <a:pt x="249" y="164"/>
                  </a:lnTo>
                  <a:lnTo>
                    <a:pt x="244" y="175"/>
                  </a:lnTo>
                  <a:lnTo>
                    <a:pt x="239" y="186"/>
                  </a:lnTo>
                  <a:lnTo>
                    <a:pt x="232" y="197"/>
                  </a:lnTo>
                  <a:lnTo>
                    <a:pt x="225" y="207"/>
                  </a:lnTo>
                  <a:lnTo>
                    <a:pt x="216" y="216"/>
                  </a:lnTo>
                  <a:lnTo>
                    <a:pt x="208" y="225"/>
                  </a:lnTo>
                  <a:lnTo>
                    <a:pt x="198" y="232"/>
                  </a:lnTo>
                  <a:lnTo>
                    <a:pt x="188" y="238"/>
                  </a:lnTo>
                  <a:lnTo>
                    <a:pt x="177" y="243"/>
                  </a:lnTo>
                  <a:lnTo>
                    <a:pt x="165" y="247"/>
                  </a:lnTo>
                  <a:lnTo>
                    <a:pt x="152" y="250"/>
                  </a:lnTo>
                  <a:lnTo>
                    <a:pt x="140" y="253"/>
                  </a:lnTo>
                  <a:lnTo>
                    <a:pt x="128" y="253"/>
                  </a:lnTo>
                  <a:lnTo>
                    <a:pt x="128" y="253"/>
                  </a:lnTo>
                  <a:lnTo>
                    <a:pt x="114" y="253"/>
                  </a:lnTo>
                  <a:lnTo>
                    <a:pt x="102" y="250"/>
                  </a:lnTo>
                  <a:lnTo>
                    <a:pt x="89" y="247"/>
                  </a:lnTo>
                  <a:lnTo>
                    <a:pt x="78" y="243"/>
                  </a:lnTo>
                  <a:lnTo>
                    <a:pt x="67" y="238"/>
                  </a:lnTo>
                  <a:lnTo>
                    <a:pt x="56" y="232"/>
                  </a:lnTo>
                  <a:lnTo>
                    <a:pt x="46" y="225"/>
                  </a:lnTo>
                  <a:lnTo>
                    <a:pt x="37" y="216"/>
                  </a:lnTo>
                  <a:lnTo>
                    <a:pt x="30" y="207"/>
                  </a:lnTo>
                  <a:lnTo>
                    <a:pt x="23" y="197"/>
                  </a:lnTo>
                  <a:lnTo>
                    <a:pt x="15" y="186"/>
                  </a:lnTo>
                  <a:lnTo>
                    <a:pt x="10" y="175"/>
                  </a:lnTo>
                  <a:lnTo>
                    <a:pt x="7" y="164"/>
                  </a:lnTo>
                  <a:lnTo>
                    <a:pt x="3" y="152"/>
                  </a:lnTo>
                  <a:lnTo>
                    <a:pt x="2" y="139"/>
                  </a:lnTo>
                  <a:lnTo>
                    <a:pt x="0" y="126"/>
                  </a:lnTo>
                  <a:lnTo>
                    <a:pt x="0" y="126"/>
                  </a:lnTo>
                  <a:lnTo>
                    <a:pt x="2" y="113"/>
                  </a:lnTo>
                  <a:lnTo>
                    <a:pt x="3" y="101"/>
                  </a:lnTo>
                  <a:lnTo>
                    <a:pt x="7" y="89"/>
                  </a:lnTo>
                  <a:lnTo>
                    <a:pt x="10" y="78"/>
                  </a:lnTo>
                  <a:lnTo>
                    <a:pt x="15" y="67"/>
                  </a:lnTo>
                  <a:lnTo>
                    <a:pt x="23" y="55"/>
                  </a:lnTo>
                  <a:lnTo>
                    <a:pt x="30" y="46"/>
                  </a:lnTo>
                  <a:lnTo>
                    <a:pt x="37" y="37"/>
                  </a:lnTo>
                  <a:lnTo>
                    <a:pt x="46" y="28"/>
                  </a:lnTo>
                  <a:lnTo>
                    <a:pt x="56" y="21"/>
                  </a:lnTo>
                  <a:lnTo>
                    <a:pt x="67" y="15"/>
                  </a:lnTo>
                  <a:lnTo>
                    <a:pt x="78" y="10"/>
                  </a:lnTo>
                  <a:lnTo>
                    <a:pt x="89" y="5"/>
                  </a:lnTo>
                  <a:lnTo>
                    <a:pt x="102" y="2"/>
                  </a:lnTo>
                  <a:lnTo>
                    <a:pt x="114" y="0"/>
                  </a:lnTo>
                  <a:lnTo>
                    <a:pt x="128" y="0"/>
                  </a:lnTo>
                  <a:lnTo>
                    <a:pt x="128" y="0"/>
                  </a:lnTo>
                  <a:lnTo>
                    <a:pt x="140" y="0"/>
                  </a:lnTo>
                  <a:lnTo>
                    <a:pt x="152" y="2"/>
                  </a:lnTo>
                  <a:lnTo>
                    <a:pt x="165" y="5"/>
                  </a:lnTo>
                  <a:lnTo>
                    <a:pt x="177" y="10"/>
                  </a:lnTo>
                  <a:lnTo>
                    <a:pt x="188" y="15"/>
                  </a:lnTo>
                  <a:lnTo>
                    <a:pt x="198" y="21"/>
                  </a:lnTo>
                  <a:lnTo>
                    <a:pt x="208" y="28"/>
                  </a:lnTo>
                  <a:lnTo>
                    <a:pt x="216" y="37"/>
                  </a:lnTo>
                  <a:lnTo>
                    <a:pt x="225" y="46"/>
                  </a:lnTo>
                  <a:lnTo>
                    <a:pt x="232" y="55"/>
                  </a:lnTo>
                  <a:lnTo>
                    <a:pt x="239" y="67"/>
                  </a:lnTo>
                  <a:lnTo>
                    <a:pt x="244" y="78"/>
                  </a:lnTo>
                  <a:lnTo>
                    <a:pt x="249" y="89"/>
                  </a:lnTo>
                  <a:lnTo>
                    <a:pt x="251" y="101"/>
                  </a:lnTo>
                  <a:lnTo>
                    <a:pt x="253" y="113"/>
                  </a:lnTo>
                  <a:lnTo>
                    <a:pt x="253" y="1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dirty="0"/>
            </a:p>
          </p:txBody>
        </p:sp>
        <p:sp>
          <p:nvSpPr>
            <p:cNvPr id="25" name="Freeform 194"/>
            <p:cNvSpPr>
              <a:spLocks/>
            </p:cNvSpPr>
            <p:nvPr/>
          </p:nvSpPr>
          <p:spPr bwMode="auto">
            <a:xfrm>
              <a:off x="1004260" y="3872631"/>
              <a:ext cx="557234" cy="689951"/>
            </a:xfrm>
            <a:custGeom>
              <a:avLst/>
              <a:gdLst>
                <a:gd name="T0" fmla="*/ 587 w 613"/>
                <a:gd name="T1" fmla="*/ 590 h 759"/>
                <a:gd name="T2" fmla="*/ 590 w 613"/>
                <a:gd name="T3" fmla="*/ 651 h 759"/>
                <a:gd name="T4" fmla="*/ 601 w 613"/>
                <a:gd name="T5" fmla="*/ 700 h 759"/>
                <a:gd name="T6" fmla="*/ 613 w 613"/>
                <a:gd name="T7" fmla="*/ 726 h 759"/>
                <a:gd name="T8" fmla="*/ 582 w 613"/>
                <a:gd name="T9" fmla="*/ 747 h 759"/>
                <a:gd name="T10" fmla="*/ 546 w 613"/>
                <a:gd name="T11" fmla="*/ 757 h 759"/>
                <a:gd name="T12" fmla="*/ 521 w 613"/>
                <a:gd name="T13" fmla="*/ 759 h 759"/>
                <a:gd name="T14" fmla="*/ 488 w 613"/>
                <a:gd name="T15" fmla="*/ 756 h 759"/>
                <a:gd name="T16" fmla="*/ 463 w 613"/>
                <a:gd name="T17" fmla="*/ 746 h 759"/>
                <a:gd name="T18" fmla="*/ 452 w 613"/>
                <a:gd name="T19" fmla="*/ 735 h 759"/>
                <a:gd name="T20" fmla="*/ 440 w 613"/>
                <a:gd name="T21" fmla="*/ 714 h 759"/>
                <a:gd name="T22" fmla="*/ 434 w 613"/>
                <a:gd name="T23" fmla="*/ 662 h 759"/>
                <a:gd name="T24" fmla="*/ 432 w 613"/>
                <a:gd name="T25" fmla="*/ 247 h 759"/>
                <a:gd name="T26" fmla="*/ 425 w 613"/>
                <a:gd name="T27" fmla="*/ 204 h 759"/>
                <a:gd name="T28" fmla="*/ 413 w 613"/>
                <a:gd name="T29" fmla="*/ 173 h 759"/>
                <a:gd name="T30" fmla="*/ 402 w 613"/>
                <a:gd name="T31" fmla="*/ 158 h 759"/>
                <a:gd name="T32" fmla="*/ 377 w 613"/>
                <a:gd name="T33" fmla="*/ 144 h 759"/>
                <a:gd name="T34" fmla="*/ 344 w 613"/>
                <a:gd name="T35" fmla="*/ 139 h 759"/>
                <a:gd name="T36" fmla="*/ 294 w 613"/>
                <a:gd name="T37" fmla="*/ 146 h 759"/>
                <a:gd name="T38" fmla="*/ 242 w 613"/>
                <a:gd name="T39" fmla="*/ 164 h 759"/>
                <a:gd name="T40" fmla="*/ 173 w 613"/>
                <a:gd name="T41" fmla="*/ 211 h 759"/>
                <a:gd name="T42" fmla="*/ 152 w 613"/>
                <a:gd name="T43" fmla="*/ 748 h 759"/>
                <a:gd name="T44" fmla="*/ 100 w 613"/>
                <a:gd name="T45" fmla="*/ 754 h 759"/>
                <a:gd name="T46" fmla="*/ 55 w 613"/>
                <a:gd name="T47" fmla="*/ 753 h 759"/>
                <a:gd name="T48" fmla="*/ 15 w 613"/>
                <a:gd name="T49" fmla="*/ 751 h 759"/>
                <a:gd name="T50" fmla="*/ 9 w 613"/>
                <a:gd name="T51" fmla="*/ 9 h 759"/>
                <a:gd name="T52" fmla="*/ 77 w 613"/>
                <a:gd name="T53" fmla="*/ 9 h 759"/>
                <a:gd name="T54" fmla="*/ 102 w 613"/>
                <a:gd name="T55" fmla="*/ 14 h 759"/>
                <a:gd name="T56" fmla="*/ 123 w 613"/>
                <a:gd name="T57" fmla="*/ 26 h 759"/>
                <a:gd name="T58" fmla="*/ 137 w 613"/>
                <a:gd name="T59" fmla="*/ 44 h 759"/>
                <a:gd name="T60" fmla="*/ 147 w 613"/>
                <a:gd name="T61" fmla="*/ 69 h 759"/>
                <a:gd name="T62" fmla="*/ 152 w 613"/>
                <a:gd name="T63" fmla="*/ 100 h 759"/>
                <a:gd name="T64" fmla="*/ 221 w 613"/>
                <a:gd name="T65" fmla="*/ 47 h 759"/>
                <a:gd name="T66" fmla="*/ 266 w 613"/>
                <a:gd name="T67" fmla="*/ 25 h 759"/>
                <a:gd name="T68" fmla="*/ 310 w 613"/>
                <a:gd name="T69" fmla="*/ 10 h 759"/>
                <a:gd name="T70" fmla="*/ 357 w 613"/>
                <a:gd name="T71" fmla="*/ 2 h 759"/>
                <a:gd name="T72" fmla="*/ 389 w 613"/>
                <a:gd name="T73" fmla="*/ 0 h 759"/>
                <a:gd name="T74" fmla="*/ 457 w 613"/>
                <a:gd name="T75" fmla="*/ 10 h 759"/>
                <a:gd name="T76" fmla="*/ 510 w 613"/>
                <a:gd name="T77" fmla="*/ 37 h 759"/>
                <a:gd name="T78" fmla="*/ 537 w 613"/>
                <a:gd name="T79" fmla="*/ 67 h 759"/>
                <a:gd name="T80" fmla="*/ 568 w 613"/>
                <a:gd name="T81" fmla="*/ 122 h 759"/>
                <a:gd name="T82" fmla="*/ 584 w 613"/>
                <a:gd name="T83" fmla="*/ 191 h 7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13" h="759">
                  <a:moveTo>
                    <a:pt x="587" y="244"/>
                  </a:moveTo>
                  <a:lnTo>
                    <a:pt x="587" y="590"/>
                  </a:lnTo>
                  <a:lnTo>
                    <a:pt x="587" y="590"/>
                  </a:lnTo>
                  <a:lnTo>
                    <a:pt x="588" y="612"/>
                  </a:lnTo>
                  <a:lnTo>
                    <a:pt x="589" y="632"/>
                  </a:lnTo>
                  <a:lnTo>
                    <a:pt x="590" y="651"/>
                  </a:lnTo>
                  <a:lnTo>
                    <a:pt x="594" y="669"/>
                  </a:lnTo>
                  <a:lnTo>
                    <a:pt x="597" y="685"/>
                  </a:lnTo>
                  <a:lnTo>
                    <a:pt x="601" y="700"/>
                  </a:lnTo>
                  <a:lnTo>
                    <a:pt x="606" y="714"/>
                  </a:lnTo>
                  <a:lnTo>
                    <a:pt x="613" y="726"/>
                  </a:lnTo>
                  <a:lnTo>
                    <a:pt x="613" y="726"/>
                  </a:lnTo>
                  <a:lnTo>
                    <a:pt x="603" y="735"/>
                  </a:lnTo>
                  <a:lnTo>
                    <a:pt x="592" y="741"/>
                  </a:lnTo>
                  <a:lnTo>
                    <a:pt x="582" y="747"/>
                  </a:lnTo>
                  <a:lnTo>
                    <a:pt x="571" y="751"/>
                  </a:lnTo>
                  <a:lnTo>
                    <a:pt x="558" y="754"/>
                  </a:lnTo>
                  <a:lnTo>
                    <a:pt x="546" y="757"/>
                  </a:lnTo>
                  <a:lnTo>
                    <a:pt x="534" y="758"/>
                  </a:lnTo>
                  <a:lnTo>
                    <a:pt x="521" y="759"/>
                  </a:lnTo>
                  <a:lnTo>
                    <a:pt x="521" y="759"/>
                  </a:lnTo>
                  <a:lnTo>
                    <a:pt x="509" y="759"/>
                  </a:lnTo>
                  <a:lnTo>
                    <a:pt x="498" y="758"/>
                  </a:lnTo>
                  <a:lnTo>
                    <a:pt x="488" y="756"/>
                  </a:lnTo>
                  <a:lnTo>
                    <a:pt x="478" y="753"/>
                  </a:lnTo>
                  <a:lnTo>
                    <a:pt x="471" y="749"/>
                  </a:lnTo>
                  <a:lnTo>
                    <a:pt x="463" y="746"/>
                  </a:lnTo>
                  <a:lnTo>
                    <a:pt x="457" y="741"/>
                  </a:lnTo>
                  <a:lnTo>
                    <a:pt x="452" y="735"/>
                  </a:lnTo>
                  <a:lnTo>
                    <a:pt x="452" y="735"/>
                  </a:lnTo>
                  <a:lnTo>
                    <a:pt x="447" y="728"/>
                  </a:lnTo>
                  <a:lnTo>
                    <a:pt x="443" y="721"/>
                  </a:lnTo>
                  <a:lnTo>
                    <a:pt x="440" y="714"/>
                  </a:lnTo>
                  <a:lnTo>
                    <a:pt x="437" y="704"/>
                  </a:lnTo>
                  <a:lnTo>
                    <a:pt x="435" y="684"/>
                  </a:lnTo>
                  <a:lnTo>
                    <a:pt x="434" y="662"/>
                  </a:lnTo>
                  <a:lnTo>
                    <a:pt x="434" y="283"/>
                  </a:lnTo>
                  <a:lnTo>
                    <a:pt x="434" y="283"/>
                  </a:lnTo>
                  <a:lnTo>
                    <a:pt x="432" y="247"/>
                  </a:lnTo>
                  <a:lnTo>
                    <a:pt x="430" y="231"/>
                  </a:lnTo>
                  <a:lnTo>
                    <a:pt x="429" y="217"/>
                  </a:lnTo>
                  <a:lnTo>
                    <a:pt x="425" y="204"/>
                  </a:lnTo>
                  <a:lnTo>
                    <a:pt x="421" y="193"/>
                  </a:lnTo>
                  <a:lnTo>
                    <a:pt x="418" y="181"/>
                  </a:lnTo>
                  <a:lnTo>
                    <a:pt x="413" y="173"/>
                  </a:lnTo>
                  <a:lnTo>
                    <a:pt x="413" y="173"/>
                  </a:lnTo>
                  <a:lnTo>
                    <a:pt x="408" y="165"/>
                  </a:lnTo>
                  <a:lnTo>
                    <a:pt x="402" y="158"/>
                  </a:lnTo>
                  <a:lnTo>
                    <a:pt x="394" y="152"/>
                  </a:lnTo>
                  <a:lnTo>
                    <a:pt x="385" y="148"/>
                  </a:lnTo>
                  <a:lnTo>
                    <a:pt x="377" y="144"/>
                  </a:lnTo>
                  <a:lnTo>
                    <a:pt x="366" y="142"/>
                  </a:lnTo>
                  <a:lnTo>
                    <a:pt x="355" y="141"/>
                  </a:lnTo>
                  <a:lnTo>
                    <a:pt x="344" y="139"/>
                  </a:lnTo>
                  <a:lnTo>
                    <a:pt x="344" y="139"/>
                  </a:lnTo>
                  <a:lnTo>
                    <a:pt x="319" y="141"/>
                  </a:lnTo>
                  <a:lnTo>
                    <a:pt x="294" y="146"/>
                  </a:lnTo>
                  <a:lnTo>
                    <a:pt x="268" y="153"/>
                  </a:lnTo>
                  <a:lnTo>
                    <a:pt x="242" y="164"/>
                  </a:lnTo>
                  <a:lnTo>
                    <a:pt x="242" y="164"/>
                  </a:lnTo>
                  <a:lnTo>
                    <a:pt x="218" y="178"/>
                  </a:lnTo>
                  <a:lnTo>
                    <a:pt x="195" y="193"/>
                  </a:lnTo>
                  <a:lnTo>
                    <a:pt x="173" y="211"/>
                  </a:lnTo>
                  <a:lnTo>
                    <a:pt x="152" y="232"/>
                  </a:lnTo>
                  <a:lnTo>
                    <a:pt x="152" y="748"/>
                  </a:lnTo>
                  <a:lnTo>
                    <a:pt x="152" y="748"/>
                  </a:lnTo>
                  <a:lnTo>
                    <a:pt x="139" y="751"/>
                  </a:lnTo>
                  <a:lnTo>
                    <a:pt x="121" y="753"/>
                  </a:lnTo>
                  <a:lnTo>
                    <a:pt x="100" y="754"/>
                  </a:lnTo>
                  <a:lnTo>
                    <a:pt x="77" y="754"/>
                  </a:lnTo>
                  <a:lnTo>
                    <a:pt x="77" y="754"/>
                  </a:lnTo>
                  <a:lnTo>
                    <a:pt x="55" y="753"/>
                  </a:lnTo>
                  <a:lnTo>
                    <a:pt x="34" y="752"/>
                  </a:lnTo>
                  <a:lnTo>
                    <a:pt x="34" y="752"/>
                  </a:lnTo>
                  <a:lnTo>
                    <a:pt x="15" y="751"/>
                  </a:lnTo>
                  <a:lnTo>
                    <a:pt x="0" y="747"/>
                  </a:lnTo>
                  <a:lnTo>
                    <a:pt x="0" y="17"/>
                  </a:lnTo>
                  <a:lnTo>
                    <a:pt x="9" y="9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77" y="9"/>
                  </a:lnTo>
                  <a:lnTo>
                    <a:pt x="86" y="10"/>
                  </a:lnTo>
                  <a:lnTo>
                    <a:pt x="94" y="11"/>
                  </a:lnTo>
                  <a:lnTo>
                    <a:pt x="102" y="14"/>
                  </a:lnTo>
                  <a:lnTo>
                    <a:pt x="109" y="17"/>
                  </a:lnTo>
                  <a:lnTo>
                    <a:pt x="116" y="21"/>
                  </a:lnTo>
                  <a:lnTo>
                    <a:pt x="123" y="26"/>
                  </a:lnTo>
                  <a:lnTo>
                    <a:pt x="128" y="31"/>
                  </a:lnTo>
                  <a:lnTo>
                    <a:pt x="134" y="37"/>
                  </a:lnTo>
                  <a:lnTo>
                    <a:pt x="137" y="44"/>
                  </a:lnTo>
                  <a:lnTo>
                    <a:pt x="141" y="52"/>
                  </a:lnTo>
                  <a:lnTo>
                    <a:pt x="145" y="60"/>
                  </a:lnTo>
                  <a:lnTo>
                    <a:pt x="147" y="69"/>
                  </a:lnTo>
                  <a:lnTo>
                    <a:pt x="150" y="79"/>
                  </a:lnTo>
                  <a:lnTo>
                    <a:pt x="152" y="100"/>
                  </a:lnTo>
                  <a:lnTo>
                    <a:pt x="152" y="100"/>
                  </a:lnTo>
                  <a:lnTo>
                    <a:pt x="179" y="76"/>
                  </a:lnTo>
                  <a:lnTo>
                    <a:pt x="208" y="57"/>
                  </a:lnTo>
                  <a:lnTo>
                    <a:pt x="221" y="47"/>
                  </a:lnTo>
                  <a:lnTo>
                    <a:pt x="236" y="39"/>
                  </a:lnTo>
                  <a:lnTo>
                    <a:pt x="251" y="32"/>
                  </a:lnTo>
                  <a:lnTo>
                    <a:pt x="266" y="25"/>
                  </a:lnTo>
                  <a:lnTo>
                    <a:pt x="281" y="20"/>
                  </a:lnTo>
                  <a:lnTo>
                    <a:pt x="295" y="15"/>
                  </a:lnTo>
                  <a:lnTo>
                    <a:pt x="310" y="10"/>
                  </a:lnTo>
                  <a:lnTo>
                    <a:pt x="326" y="6"/>
                  </a:lnTo>
                  <a:lnTo>
                    <a:pt x="341" y="4"/>
                  </a:lnTo>
                  <a:lnTo>
                    <a:pt x="357" y="2"/>
                  </a:lnTo>
                  <a:lnTo>
                    <a:pt x="373" y="1"/>
                  </a:lnTo>
                  <a:lnTo>
                    <a:pt x="389" y="0"/>
                  </a:lnTo>
                  <a:lnTo>
                    <a:pt x="389" y="0"/>
                  </a:lnTo>
                  <a:lnTo>
                    <a:pt x="413" y="1"/>
                  </a:lnTo>
                  <a:lnTo>
                    <a:pt x="436" y="5"/>
                  </a:lnTo>
                  <a:lnTo>
                    <a:pt x="457" y="10"/>
                  </a:lnTo>
                  <a:lnTo>
                    <a:pt x="476" y="17"/>
                  </a:lnTo>
                  <a:lnTo>
                    <a:pt x="494" y="26"/>
                  </a:lnTo>
                  <a:lnTo>
                    <a:pt x="510" y="37"/>
                  </a:lnTo>
                  <a:lnTo>
                    <a:pt x="525" y="51"/>
                  </a:lnTo>
                  <a:lnTo>
                    <a:pt x="537" y="67"/>
                  </a:lnTo>
                  <a:lnTo>
                    <a:pt x="537" y="67"/>
                  </a:lnTo>
                  <a:lnTo>
                    <a:pt x="550" y="84"/>
                  </a:lnTo>
                  <a:lnTo>
                    <a:pt x="560" y="102"/>
                  </a:lnTo>
                  <a:lnTo>
                    <a:pt x="568" y="122"/>
                  </a:lnTo>
                  <a:lnTo>
                    <a:pt x="574" y="144"/>
                  </a:lnTo>
                  <a:lnTo>
                    <a:pt x="580" y="167"/>
                  </a:lnTo>
                  <a:lnTo>
                    <a:pt x="584" y="191"/>
                  </a:lnTo>
                  <a:lnTo>
                    <a:pt x="587" y="217"/>
                  </a:lnTo>
                  <a:lnTo>
                    <a:pt x="587" y="2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dirty="0"/>
            </a:p>
          </p:txBody>
        </p:sp>
        <p:sp>
          <p:nvSpPr>
            <p:cNvPr id="41" name="Freeform 196"/>
            <p:cNvSpPr>
              <a:spLocks/>
            </p:cNvSpPr>
            <p:nvPr/>
          </p:nvSpPr>
          <p:spPr bwMode="auto">
            <a:xfrm>
              <a:off x="657920" y="3880813"/>
              <a:ext cx="139081" cy="679043"/>
            </a:xfrm>
            <a:custGeom>
              <a:avLst/>
              <a:gdLst>
                <a:gd name="T0" fmla="*/ 152 w 153"/>
                <a:gd name="T1" fmla="*/ 91 h 747"/>
                <a:gd name="T2" fmla="*/ 152 w 153"/>
                <a:gd name="T3" fmla="*/ 91 h 747"/>
                <a:gd name="T4" fmla="*/ 149 w 153"/>
                <a:gd name="T5" fmla="*/ 69 h 747"/>
                <a:gd name="T6" fmla="*/ 147 w 153"/>
                <a:gd name="T7" fmla="*/ 60 h 747"/>
                <a:gd name="T8" fmla="*/ 144 w 153"/>
                <a:gd name="T9" fmla="*/ 50 h 747"/>
                <a:gd name="T10" fmla="*/ 142 w 153"/>
                <a:gd name="T11" fmla="*/ 43 h 747"/>
                <a:gd name="T12" fmla="*/ 138 w 153"/>
                <a:gd name="T13" fmla="*/ 34 h 747"/>
                <a:gd name="T14" fmla="*/ 133 w 153"/>
                <a:gd name="T15" fmla="*/ 28 h 747"/>
                <a:gd name="T16" fmla="*/ 128 w 153"/>
                <a:gd name="T17" fmla="*/ 22 h 747"/>
                <a:gd name="T18" fmla="*/ 122 w 153"/>
                <a:gd name="T19" fmla="*/ 17 h 747"/>
                <a:gd name="T20" fmla="*/ 116 w 153"/>
                <a:gd name="T21" fmla="*/ 12 h 747"/>
                <a:gd name="T22" fmla="*/ 110 w 153"/>
                <a:gd name="T23" fmla="*/ 8 h 747"/>
                <a:gd name="T24" fmla="*/ 102 w 153"/>
                <a:gd name="T25" fmla="*/ 5 h 747"/>
                <a:gd name="T26" fmla="*/ 94 w 153"/>
                <a:gd name="T27" fmla="*/ 2 h 747"/>
                <a:gd name="T28" fmla="*/ 85 w 153"/>
                <a:gd name="T29" fmla="*/ 1 h 747"/>
                <a:gd name="T30" fmla="*/ 77 w 153"/>
                <a:gd name="T31" fmla="*/ 0 h 747"/>
                <a:gd name="T32" fmla="*/ 67 w 153"/>
                <a:gd name="T33" fmla="*/ 0 h 747"/>
                <a:gd name="T34" fmla="*/ 9 w 153"/>
                <a:gd name="T35" fmla="*/ 0 h 747"/>
                <a:gd name="T36" fmla="*/ 0 w 153"/>
                <a:gd name="T37" fmla="*/ 8 h 747"/>
                <a:gd name="T38" fmla="*/ 0 w 153"/>
                <a:gd name="T39" fmla="*/ 740 h 747"/>
                <a:gd name="T40" fmla="*/ 0 w 153"/>
                <a:gd name="T41" fmla="*/ 740 h 747"/>
                <a:gd name="T42" fmla="*/ 16 w 153"/>
                <a:gd name="T43" fmla="*/ 743 h 747"/>
                <a:gd name="T44" fmla="*/ 33 w 153"/>
                <a:gd name="T45" fmla="*/ 745 h 747"/>
                <a:gd name="T46" fmla="*/ 33 w 153"/>
                <a:gd name="T47" fmla="*/ 745 h 747"/>
                <a:gd name="T48" fmla="*/ 54 w 153"/>
                <a:gd name="T49" fmla="*/ 747 h 747"/>
                <a:gd name="T50" fmla="*/ 77 w 153"/>
                <a:gd name="T51" fmla="*/ 747 h 747"/>
                <a:gd name="T52" fmla="*/ 77 w 153"/>
                <a:gd name="T53" fmla="*/ 747 h 747"/>
                <a:gd name="T54" fmla="*/ 101 w 153"/>
                <a:gd name="T55" fmla="*/ 745 h 747"/>
                <a:gd name="T56" fmla="*/ 121 w 153"/>
                <a:gd name="T57" fmla="*/ 745 h 747"/>
                <a:gd name="T58" fmla="*/ 138 w 153"/>
                <a:gd name="T59" fmla="*/ 743 h 747"/>
                <a:gd name="T60" fmla="*/ 153 w 153"/>
                <a:gd name="T61" fmla="*/ 740 h 747"/>
                <a:gd name="T62" fmla="*/ 153 w 153"/>
                <a:gd name="T63" fmla="*/ 223 h 747"/>
                <a:gd name="T64" fmla="*/ 153 w 153"/>
                <a:gd name="T65" fmla="*/ 223 h 747"/>
                <a:gd name="T66" fmla="*/ 152 w 153"/>
                <a:gd name="T67" fmla="*/ 156 h 747"/>
                <a:gd name="T68" fmla="*/ 152 w 153"/>
                <a:gd name="T69" fmla="*/ 121 h 747"/>
                <a:gd name="T70" fmla="*/ 152 w 153"/>
                <a:gd name="T71" fmla="*/ 91 h 7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53" h="747">
                  <a:moveTo>
                    <a:pt x="152" y="91"/>
                  </a:moveTo>
                  <a:lnTo>
                    <a:pt x="152" y="91"/>
                  </a:lnTo>
                  <a:lnTo>
                    <a:pt x="149" y="69"/>
                  </a:lnTo>
                  <a:lnTo>
                    <a:pt x="147" y="60"/>
                  </a:lnTo>
                  <a:lnTo>
                    <a:pt x="144" y="50"/>
                  </a:lnTo>
                  <a:lnTo>
                    <a:pt x="142" y="43"/>
                  </a:lnTo>
                  <a:lnTo>
                    <a:pt x="138" y="34"/>
                  </a:lnTo>
                  <a:lnTo>
                    <a:pt x="133" y="28"/>
                  </a:lnTo>
                  <a:lnTo>
                    <a:pt x="128" y="22"/>
                  </a:lnTo>
                  <a:lnTo>
                    <a:pt x="122" y="17"/>
                  </a:lnTo>
                  <a:lnTo>
                    <a:pt x="116" y="12"/>
                  </a:lnTo>
                  <a:lnTo>
                    <a:pt x="110" y="8"/>
                  </a:lnTo>
                  <a:lnTo>
                    <a:pt x="102" y="5"/>
                  </a:lnTo>
                  <a:lnTo>
                    <a:pt x="94" y="2"/>
                  </a:lnTo>
                  <a:lnTo>
                    <a:pt x="85" y="1"/>
                  </a:lnTo>
                  <a:lnTo>
                    <a:pt x="77" y="0"/>
                  </a:lnTo>
                  <a:lnTo>
                    <a:pt x="67" y="0"/>
                  </a:lnTo>
                  <a:lnTo>
                    <a:pt x="9" y="0"/>
                  </a:lnTo>
                  <a:lnTo>
                    <a:pt x="0" y="8"/>
                  </a:lnTo>
                  <a:lnTo>
                    <a:pt x="0" y="740"/>
                  </a:lnTo>
                  <a:lnTo>
                    <a:pt x="0" y="740"/>
                  </a:lnTo>
                  <a:lnTo>
                    <a:pt x="16" y="743"/>
                  </a:lnTo>
                  <a:lnTo>
                    <a:pt x="33" y="745"/>
                  </a:lnTo>
                  <a:lnTo>
                    <a:pt x="33" y="745"/>
                  </a:lnTo>
                  <a:lnTo>
                    <a:pt x="54" y="747"/>
                  </a:lnTo>
                  <a:lnTo>
                    <a:pt x="77" y="747"/>
                  </a:lnTo>
                  <a:lnTo>
                    <a:pt x="77" y="747"/>
                  </a:lnTo>
                  <a:lnTo>
                    <a:pt x="101" y="745"/>
                  </a:lnTo>
                  <a:lnTo>
                    <a:pt x="121" y="745"/>
                  </a:lnTo>
                  <a:lnTo>
                    <a:pt x="138" y="743"/>
                  </a:lnTo>
                  <a:lnTo>
                    <a:pt x="153" y="740"/>
                  </a:lnTo>
                  <a:lnTo>
                    <a:pt x="153" y="223"/>
                  </a:lnTo>
                  <a:lnTo>
                    <a:pt x="153" y="223"/>
                  </a:lnTo>
                  <a:lnTo>
                    <a:pt x="152" y="156"/>
                  </a:lnTo>
                  <a:lnTo>
                    <a:pt x="152" y="121"/>
                  </a:lnTo>
                  <a:lnTo>
                    <a:pt x="152" y="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dirty="0"/>
            </a:p>
          </p:txBody>
        </p:sp>
        <p:sp>
          <p:nvSpPr>
            <p:cNvPr id="42" name="Freeform 198"/>
            <p:cNvSpPr>
              <a:spLocks/>
            </p:cNvSpPr>
            <p:nvPr/>
          </p:nvSpPr>
          <p:spPr bwMode="auto">
            <a:xfrm>
              <a:off x="1652395" y="3553563"/>
              <a:ext cx="489056" cy="1007202"/>
            </a:xfrm>
            <a:custGeom>
              <a:avLst/>
              <a:gdLst>
                <a:gd name="T0" fmla="*/ 134 w 538"/>
                <a:gd name="T1" fmla="*/ 476 h 1108"/>
                <a:gd name="T2" fmla="*/ 7 w 538"/>
                <a:gd name="T3" fmla="*/ 478 h 1108"/>
                <a:gd name="T4" fmla="*/ 2 w 538"/>
                <a:gd name="T5" fmla="*/ 451 h 1108"/>
                <a:gd name="T6" fmla="*/ 1 w 538"/>
                <a:gd name="T7" fmla="*/ 436 h 1108"/>
                <a:gd name="T8" fmla="*/ 0 w 538"/>
                <a:gd name="T9" fmla="*/ 421 h 1108"/>
                <a:gd name="T10" fmla="*/ 1 w 538"/>
                <a:gd name="T11" fmla="*/ 389 h 1108"/>
                <a:gd name="T12" fmla="*/ 6 w 538"/>
                <a:gd name="T13" fmla="*/ 363 h 1108"/>
                <a:gd name="T14" fmla="*/ 127 w 538"/>
                <a:gd name="T15" fmla="*/ 365 h 1108"/>
                <a:gd name="T16" fmla="*/ 118 w 538"/>
                <a:gd name="T17" fmla="*/ 256 h 1108"/>
                <a:gd name="T18" fmla="*/ 118 w 538"/>
                <a:gd name="T19" fmla="*/ 232 h 1108"/>
                <a:gd name="T20" fmla="*/ 122 w 538"/>
                <a:gd name="T21" fmla="*/ 184 h 1108"/>
                <a:gd name="T22" fmla="*/ 133 w 538"/>
                <a:gd name="T23" fmla="*/ 140 h 1108"/>
                <a:gd name="T24" fmla="*/ 141 w 538"/>
                <a:gd name="T25" fmla="*/ 119 h 1108"/>
                <a:gd name="T26" fmla="*/ 165 w 538"/>
                <a:gd name="T27" fmla="*/ 82 h 1108"/>
                <a:gd name="T28" fmla="*/ 179 w 538"/>
                <a:gd name="T29" fmla="*/ 66 h 1108"/>
                <a:gd name="T30" fmla="*/ 212 w 538"/>
                <a:gd name="T31" fmla="*/ 39 h 1108"/>
                <a:gd name="T32" fmla="*/ 250 w 538"/>
                <a:gd name="T33" fmla="*/ 18 h 1108"/>
                <a:gd name="T34" fmla="*/ 272 w 538"/>
                <a:gd name="T35" fmla="*/ 10 h 1108"/>
                <a:gd name="T36" fmla="*/ 319 w 538"/>
                <a:gd name="T37" fmla="*/ 1 h 1108"/>
                <a:gd name="T38" fmla="*/ 344 w 538"/>
                <a:gd name="T39" fmla="*/ 0 h 1108"/>
                <a:gd name="T40" fmla="*/ 396 w 538"/>
                <a:gd name="T41" fmla="*/ 3 h 1108"/>
                <a:gd name="T42" fmla="*/ 445 w 538"/>
                <a:gd name="T43" fmla="*/ 9 h 1108"/>
                <a:gd name="T44" fmla="*/ 492 w 538"/>
                <a:gd name="T45" fmla="*/ 19 h 1108"/>
                <a:gd name="T46" fmla="*/ 538 w 538"/>
                <a:gd name="T47" fmla="*/ 34 h 1108"/>
                <a:gd name="T48" fmla="*/ 538 w 538"/>
                <a:gd name="T49" fmla="*/ 50 h 1108"/>
                <a:gd name="T50" fmla="*/ 533 w 538"/>
                <a:gd name="T51" fmla="*/ 79 h 1108"/>
                <a:gd name="T52" fmla="*/ 524 w 538"/>
                <a:gd name="T53" fmla="*/ 106 h 1108"/>
                <a:gd name="T54" fmla="*/ 511 w 538"/>
                <a:gd name="T55" fmla="*/ 129 h 1108"/>
                <a:gd name="T56" fmla="*/ 502 w 538"/>
                <a:gd name="T57" fmla="*/ 139 h 1108"/>
                <a:gd name="T58" fmla="*/ 438 w 538"/>
                <a:gd name="T59" fmla="*/ 122 h 1108"/>
                <a:gd name="T60" fmla="*/ 408 w 538"/>
                <a:gd name="T61" fmla="*/ 118 h 1108"/>
                <a:gd name="T62" fmla="*/ 381 w 538"/>
                <a:gd name="T63" fmla="*/ 116 h 1108"/>
                <a:gd name="T64" fmla="*/ 353 w 538"/>
                <a:gd name="T65" fmla="*/ 119 h 1108"/>
                <a:gd name="T66" fmla="*/ 328 w 538"/>
                <a:gd name="T67" fmla="*/ 125 h 1108"/>
                <a:gd name="T68" fmla="*/ 307 w 538"/>
                <a:gd name="T69" fmla="*/ 135 h 1108"/>
                <a:gd name="T70" fmla="*/ 291 w 538"/>
                <a:gd name="T71" fmla="*/ 150 h 1108"/>
                <a:gd name="T72" fmla="*/ 285 w 538"/>
                <a:gd name="T73" fmla="*/ 158 h 1108"/>
                <a:gd name="T74" fmla="*/ 274 w 538"/>
                <a:gd name="T75" fmla="*/ 179 h 1108"/>
                <a:gd name="T76" fmla="*/ 267 w 538"/>
                <a:gd name="T77" fmla="*/ 205 h 1108"/>
                <a:gd name="T78" fmla="*/ 264 w 538"/>
                <a:gd name="T79" fmla="*/ 235 h 1108"/>
                <a:gd name="T80" fmla="*/ 262 w 538"/>
                <a:gd name="T81" fmla="*/ 251 h 1108"/>
                <a:gd name="T82" fmla="*/ 266 w 538"/>
                <a:gd name="T83" fmla="*/ 304 h 1108"/>
                <a:gd name="T84" fmla="*/ 274 w 538"/>
                <a:gd name="T85" fmla="*/ 367 h 1108"/>
                <a:gd name="T86" fmla="*/ 483 w 538"/>
                <a:gd name="T87" fmla="*/ 365 h 1108"/>
                <a:gd name="T88" fmla="*/ 488 w 538"/>
                <a:gd name="T89" fmla="*/ 390 h 1108"/>
                <a:gd name="T90" fmla="*/ 490 w 538"/>
                <a:gd name="T91" fmla="*/ 405 h 1108"/>
                <a:gd name="T92" fmla="*/ 491 w 538"/>
                <a:gd name="T93" fmla="*/ 423 h 1108"/>
                <a:gd name="T94" fmla="*/ 488 w 538"/>
                <a:gd name="T95" fmla="*/ 452 h 1108"/>
                <a:gd name="T96" fmla="*/ 486 w 538"/>
                <a:gd name="T97" fmla="*/ 466 h 1108"/>
                <a:gd name="T98" fmla="*/ 285 w 538"/>
                <a:gd name="T99" fmla="*/ 476 h 1108"/>
                <a:gd name="T100" fmla="*/ 285 w 538"/>
                <a:gd name="T101" fmla="*/ 1102 h 1108"/>
                <a:gd name="T102" fmla="*/ 249 w 538"/>
                <a:gd name="T103" fmla="*/ 1107 h 1108"/>
                <a:gd name="T104" fmla="*/ 229 w 538"/>
                <a:gd name="T105" fmla="*/ 1108 h 1108"/>
                <a:gd name="T106" fmla="*/ 208 w 538"/>
                <a:gd name="T107" fmla="*/ 1108 h 1108"/>
                <a:gd name="T108" fmla="*/ 167 w 538"/>
                <a:gd name="T109" fmla="*/ 1107 h 1108"/>
                <a:gd name="T110" fmla="*/ 150 w 538"/>
                <a:gd name="T111" fmla="*/ 1103 h 1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38" h="1108">
                  <a:moveTo>
                    <a:pt x="134" y="1100"/>
                  </a:moveTo>
                  <a:lnTo>
                    <a:pt x="134" y="476"/>
                  </a:lnTo>
                  <a:lnTo>
                    <a:pt x="7" y="478"/>
                  </a:lnTo>
                  <a:lnTo>
                    <a:pt x="7" y="478"/>
                  </a:lnTo>
                  <a:lnTo>
                    <a:pt x="3" y="466"/>
                  </a:lnTo>
                  <a:lnTo>
                    <a:pt x="2" y="451"/>
                  </a:lnTo>
                  <a:lnTo>
                    <a:pt x="2" y="451"/>
                  </a:lnTo>
                  <a:lnTo>
                    <a:pt x="1" y="436"/>
                  </a:lnTo>
                  <a:lnTo>
                    <a:pt x="0" y="421"/>
                  </a:lnTo>
                  <a:lnTo>
                    <a:pt x="0" y="421"/>
                  </a:lnTo>
                  <a:lnTo>
                    <a:pt x="1" y="404"/>
                  </a:lnTo>
                  <a:lnTo>
                    <a:pt x="1" y="389"/>
                  </a:lnTo>
                  <a:lnTo>
                    <a:pt x="3" y="376"/>
                  </a:lnTo>
                  <a:lnTo>
                    <a:pt x="6" y="363"/>
                  </a:lnTo>
                  <a:lnTo>
                    <a:pt x="127" y="365"/>
                  </a:lnTo>
                  <a:lnTo>
                    <a:pt x="127" y="365"/>
                  </a:lnTo>
                  <a:lnTo>
                    <a:pt x="121" y="287"/>
                  </a:lnTo>
                  <a:lnTo>
                    <a:pt x="118" y="256"/>
                  </a:lnTo>
                  <a:lnTo>
                    <a:pt x="118" y="232"/>
                  </a:lnTo>
                  <a:lnTo>
                    <a:pt x="118" y="232"/>
                  </a:lnTo>
                  <a:lnTo>
                    <a:pt x="119" y="208"/>
                  </a:lnTo>
                  <a:lnTo>
                    <a:pt x="122" y="184"/>
                  </a:lnTo>
                  <a:lnTo>
                    <a:pt x="127" y="161"/>
                  </a:lnTo>
                  <a:lnTo>
                    <a:pt x="133" y="140"/>
                  </a:lnTo>
                  <a:lnTo>
                    <a:pt x="133" y="140"/>
                  </a:lnTo>
                  <a:lnTo>
                    <a:pt x="141" y="119"/>
                  </a:lnTo>
                  <a:lnTo>
                    <a:pt x="153" y="100"/>
                  </a:lnTo>
                  <a:lnTo>
                    <a:pt x="165" y="82"/>
                  </a:lnTo>
                  <a:lnTo>
                    <a:pt x="179" y="66"/>
                  </a:lnTo>
                  <a:lnTo>
                    <a:pt x="179" y="66"/>
                  </a:lnTo>
                  <a:lnTo>
                    <a:pt x="195" y="51"/>
                  </a:lnTo>
                  <a:lnTo>
                    <a:pt x="212" y="39"/>
                  </a:lnTo>
                  <a:lnTo>
                    <a:pt x="230" y="27"/>
                  </a:lnTo>
                  <a:lnTo>
                    <a:pt x="250" y="18"/>
                  </a:lnTo>
                  <a:lnTo>
                    <a:pt x="250" y="18"/>
                  </a:lnTo>
                  <a:lnTo>
                    <a:pt x="272" y="10"/>
                  </a:lnTo>
                  <a:lnTo>
                    <a:pt x="295" y="4"/>
                  </a:lnTo>
                  <a:lnTo>
                    <a:pt x="319" y="1"/>
                  </a:lnTo>
                  <a:lnTo>
                    <a:pt x="344" y="0"/>
                  </a:lnTo>
                  <a:lnTo>
                    <a:pt x="344" y="0"/>
                  </a:lnTo>
                  <a:lnTo>
                    <a:pt x="370" y="0"/>
                  </a:lnTo>
                  <a:lnTo>
                    <a:pt x="396" y="3"/>
                  </a:lnTo>
                  <a:lnTo>
                    <a:pt x="420" y="5"/>
                  </a:lnTo>
                  <a:lnTo>
                    <a:pt x="445" y="9"/>
                  </a:lnTo>
                  <a:lnTo>
                    <a:pt x="469" y="14"/>
                  </a:lnTo>
                  <a:lnTo>
                    <a:pt x="492" y="19"/>
                  </a:lnTo>
                  <a:lnTo>
                    <a:pt x="515" y="26"/>
                  </a:lnTo>
                  <a:lnTo>
                    <a:pt x="538" y="34"/>
                  </a:lnTo>
                  <a:lnTo>
                    <a:pt x="538" y="34"/>
                  </a:lnTo>
                  <a:lnTo>
                    <a:pt x="538" y="50"/>
                  </a:lnTo>
                  <a:lnTo>
                    <a:pt x="535" y="66"/>
                  </a:lnTo>
                  <a:lnTo>
                    <a:pt x="533" y="79"/>
                  </a:lnTo>
                  <a:lnTo>
                    <a:pt x="529" y="93"/>
                  </a:lnTo>
                  <a:lnTo>
                    <a:pt x="524" y="106"/>
                  </a:lnTo>
                  <a:lnTo>
                    <a:pt x="518" y="118"/>
                  </a:lnTo>
                  <a:lnTo>
                    <a:pt x="511" y="129"/>
                  </a:lnTo>
                  <a:lnTo>
                    <a:pt x="502" y="139"/>
                  </a:lnTo>
                  <a:lnTo>
                    <a:pt x="502" y="139"/>
                  </a:lnTo>
                  <a:lnTo>
                    <a:pt x="469" y="129"/>
                  </a:lnTo>
                  <a:lnTo>
                    <a:pt x="438" y="122"/>
                  </a:lnTo>
                  <a:lnTo>
                    <a:pt x="438" y="122"/>
                  </a:lnTo>
                  <a:lnTo>
                    <a:pt x="408" y="118"/>
                  </a:lnTo>
                  <a:lnTo>
                    <a:pt x="381" y="116"/>
                  </a:lnTo>
                  <a:lnTo>
                    <a:pt x="381" y="116"/>
                  </a:lnTo>
                  <a:lnTo>
                    <a:pt x="366" y="116"/>
                  </a:lnTo>
                  <a:lnTo>
                    <a:pt x="353" y="119"/>
                  </a:lnTo>
                  <a:lnTo>
                    <a:pt x="339" y="121"/>
                  </a:lnTo>
                  <a:lnTo>
                    <a:pt x="328" y="125"/>
                  </a:lnTo>
                  <a:lnTo>
                    <a:pt x="317" y="130"/>
                  </a:lnTo>
                  <a:lnTo>
                    <a:pt x="307" y="135"/>
                  </a:lnTo>
                  <a:lnTo>
                    <a:pt x="298" y="142"/>
                  </a:lnTo>
                  <a:lnTo>
                    <a:pt x="291" y="150"/>
                  </a:lnTo>
                  <a:lnTo>
                    <a:pt x="291" y="150"/>
                  </a:lnTo>
                  <a:lnTo>
                    <a:pt x="285" y="158"/>
                  </a:lnTo>
                  <a:lnTo>
                    <a:pt x="278" y="169"/>
                  </a:lnTo>
                  <a:lnTo>
                    <a:pt x="274" y="179"/>
                  </a:lnTo>
                  <a:lnTo>
                    <a:pt x="270" y="192"/>
                  </a:lnTo>
                  <a:lnTo>
                    <a:pt x="267" y="205"/>
                  </a:lnTo>
                  <a:lnTo>
                    <a:pt x="265" y="219"/>
                  </a:lnTo>
                  <a:lnTo>
                    <a:pt x="264" y="235"/>
                  </a:lnTo>
                  <a:lnTo>
                    <a:pt x="262" y="251"/>
                  </a:lnTo>
                  <a:lnTo>
                    <a:pt x="262" y="251"/>
                  </a:lnTo>
                  <a:lnTo>
                    <a:pt x="264" y="277"/>
                  </a:lnTo>
                  <a:lnTo>
                    <a:pt x="266" y="304"/>
                  </a:lnTo>
                  <a:lnTo>
                    <a:pt x="266" y="304"/>
                  </a:lnTo>
                  <a:lnTo>
                    <a:pt x="274" y="367"/>
                  </a:lnTo>
                  <a:lnTo>
                    <a:pt x="483" y="365"/>
                  </a:lnTo>
                  <a:lnTo>
                    <a:pt x="483" y="365"/>
                  </a:lnTo>
                  <a:lnTo>
                    <a:pt x="486" y="377"/>
                  </a:lnTo>
                  <a:lnTo>
                    <a:pt x="488" y="390"/>
                  </a:lnTo>
                  <a:lnTo>
                    <a:pt x="488" y="390"/>
                  </a:lnTo>
                  <a:lnTo>
                    <a:pt x="490" y="405"/>
                  </a:lnTo>
                  <a:lnTo>
                    <a:pt x="491" y="423"/>
                  </a:lnTo>
                  <a:lnTo>
                    <a:pt x="491" y="423"/>
                  </a:lnTo>
                  <a:lnTo>
                    <a:pt x="490" y="437"/>
                  </a:lnTo>
                  <a:lnTo>
                    <a:pt x="488" y="452"/>
                  </a:lnTo>
                  <a:lnTo>
                    <a:pt x="488" y="452"/>
                  </a:lnTo>
                  <a:lnTo>
                    <a:pt x="486" y="466"/>
                  </a:lnTo>
                  <a:lnTo>
                    <a:pt x="483" y="479"/>
                  </a:lnTo>
                  <a:lnTo>
                    <a:pt x="285" y="476"/>
                  </a:lnTo>
                  <a:lnTo>
                    <a:pt x="285" y="1102"/>
                  </a:lnTo>
                  <a:lnTo>
                    <a:pt x="285" y="1102"/>
                  </a:lnTo>
                  <a:lnTo>
                    <a:pt x="267" y="1104"/>
                  </a:lnTo>
                  <a:lnTo>
                    <a:pt x="249" y="1107"/>
                  </a:lnTo>
                  <a:lnTo>
                    <a:pt x="249" y="1107"/>
                  </a:lnTo>
                  <a:lnTo>
                    <a:pt x="229" y="1108"/>
                  </a:lnTo>
                  <a:lnTo>
                    <a:pt x="208" y="1108"/>
                  </a:lnTo>
                  <a:lnTo>
                    <a:pt x="208" y="1108"/>
                  </a:lnTo>
                  <a:lnTo>
                    <a:pt x="187" y="1108"/>
                  </a:lnTo>
                  <a:lnTo>
                    <a:pt x="167" y="1107"/>
                  </a:lnTo>
                  <a:lnTo>
                    <a:pt x="167" y="1107"/>
                  </a:lnTo>
                  <a:lnTo>
                    <a:pt x="150" y="1103"/>
                  </a:lnTo>
                  <a:lnTo>
                    <a:pt x="134" y="11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dirty="0"/>
            </a:p>
          </p:txBody>
        </p:sp>
        <p:sp>
          <p:nvSpPr>
            <p:cNvPr id="43" name="Freeform 200"/>
            <p:cNvSpPr>
              <a:spLocks noEditPoints="1"/>
            </p:cNvSpPr>
            <p:nvPr/>
          </p:nvSpPr>
          <p:spPr bwMode="auto">
            <a:xfrm>
              <a:off x="2135089" y="3868086"/>
              <a:ext cx="586323" cy="703587"/>
            </a:xfrm>
            <a:custGeom>
              <a:avLst/>
              <a:gdLst>
                <a:gd name="T0" fmla="*/ 286 w 645"/>
                <a:gd name="T1" fmla="*/ 121 h 774"/>
                <a:gd name="T2" fmla="*/ 225 w 645"/>
                <a:gd name="T3" fmla="*/ 154 h 774"/>
                <a:gd name="T4" fmla="*/ 184 w 645"/>
                <a:gd name="T5" fmla="*/ 222 h 774"/>
                <a:gd name="T6" fmla="*/ 165 w 645"/>
                <a:gd name="T7" fmla="*/ 322 h 774"/>
                <a:gd name="T8" fmla="*/ 162 w 645"/>
                <a:gd name="T9" fmla="*/ 419 h 774"/>
                <a:gd name="T10" fmla="*/ 177 w 645"/>
                <a:gd name="T11" fmla="*/ 528 h 774"/>
                <a:gd name="T12" fmla="*/ 213 w 645"/>
                <a:gd name="T13" fmla="*/ 604 h 774"/>
                <a:gd name="T14" fmla="*/ 268 w 645"/>
                <a:gd name="T15" fmla="*/ 646 h 774"/>
                <a:gd name="T16" fmla="*/ 323 w 645"/>
                <a:gd name="T17" fmla="*/ 654 h 774"/>
                <a:gd name="T18" fmla="*/ 394 w 645"/>
                <a:gd name="T19" fmla="*/ 638 h 774"/>
                <a:gd name="T20" fmla="*/ 445 w 645"/>
                <a:gd name="T21" fmla="*/ 588 h 774"/>
                <a:gd name="T22" fmla="*/ 476 w 645"/>
                <a:gd name="T23" fmla="*/ 504 h 774"/>
                <a:gd name="T24" fmla="*/ 486 w 645"/>
                <a:gd name="T25" fmla="*/ 385 h 774"/>
                <a:gd name="T26" fmla="*/ 481 w 645"/>
                <a:gd name="T27" fmla="*/ 294 h 774"/>
                <a:gd name="T28" fmla="*/ 455 w 645"/>
                <a:gd name="T29" fmla="*/ 202 h 774"/>
                <a:gd name="T30" fmla="*/ 409 w 645"/>
                <a:gd name="T31" fmla="*/ 143 h 774"/>
                <a:gd name="T32" fmla="*/ 342 w 645"/>
                <a:gd name="T33" fmla="*/ 117 h 774"/>
                <a:gd name="T34" fmla="*/ 527 w 645"/>
                <a:gd name="T35" fmla="*/ 701 h 774"/>
                <a:gd name="T36" fmla="*/ 482 w 645"/>
                <a:gd name="T37" fmla="*/ 735 h 774"/>
                <a:gd name="T38" fmla="*/ 415 w 645"/>
                <a:gd name="T39" fmla="*/ 762 h 774"/>
                <a:gd name="T40" fmla="*/ 323 w 645"/>
                <a:gd name="T41" fmla="*/ 774 h 774"/>
                <a:gd name="T42" fmla="*/ 249 w 645"/>
                <a:gd name="T43" fmla="*/ 767 h 774"/>
                <a:gd name="T44" fmla="*/ 184 w 645"/>
                <a:gd name="T45" fmla="*/ 747 h 774"/>
                <a:gd name="T46" fmla="*/ 142 w 645"/>
                <a:gd name="T47" fmla="*/ 722 h 774"/>
                <a:gd name="T48" fmla="*/ 94 w 645"/>
                <a:gd name="T49" fmla="*/ 680 h 774"/>
                <a:gd name="T50" fmla="*/ 65 w 645"/>
                <a:gd name="T51" fmla="*/ 641 h 774"/>
                <a:gd name="T52" fmla="*/ 34 w 645"/>
                <a:gd name="T53" fmla="*/ 579 h 774"/>
                <a:gd name="T54" fmla="*/ 17 w 645"/>
                <a:gd name="T55" fmla="*/ 527 h 774"/>
                <a:gd name="T56" fmla="*/ 2 w 645"/>
                <a:gd name="T57" fmla="*/ 430 h 774"/>
                <a:gd name="T58" fmla="*/ 5 w 645"/>
                <a:gd name="T59" fmla="*/ 304 h 774"/>
                <a:gd name="T60" fmla="*/ 21 w 645"/>
                <a:gd name="T61" fmla="*/ 228 h 774"/>
                <a:gd name="T62" fmla="*/ 47 w 645"/>
                <a:gd name="T63" fmla="*/ 162 h 774"/>
                <a:gd name="T64" fmla="*/ 84 w 645"/>
                <a:gd name="T65" fmla="*/ 106 h 774"/>
                <a:gd name="T66" fmla="*/ 118 w 645"/>
                <a:gd name="T67" fmla="*/ 70 h 774"/>
                <a:gd name="T68" fmla="*/ 170 w 645"/>
                <a:gd name="T69" fmla="*/ 33 h 774"/>
                <a:gd name="T70" fmla="*/ 215 w 645"/>
                <a:gd name="T71" fmla="*/ 15 h 774"/>
                <a:gd name="T72" fmla="*/ 284 w 645"/>
                <a:gd name="T73" fmla="*/ 1 h 774"/>
                <a:gd name="T74" fmla="*/ 341 w 645"/>
                <a:gd name="T75" fmla="*/ 0 h 774"/>
                <a:gd name="T76" fmla="*/ 411 w 645"/>
                <a:gd name="T77" fmla="*/ 10 h 774"/>
                <a:gd name="T78" fmla="*/ 460 w 645"/>
                <a:gd name="T79" fmla="*/ 27 h 774"/>
                <a:gd name="T80" fmla="*/ 514 w 645"/>
                <a:gd name="T81" fmla="*/ 60 h 774"/>
                <a:gd name="T82" fmla="*/ 560 w 645"/>
                <a:gd name="T83" fmla="*/ 106 h 774"/>
                <a:gd name="T84" fmla="*/ 588 w 645"/>
                <a:gd name="T85" fmla="*/ 147 h 774"/>
                <a:gd name="T86" fmla="*/ 618 w 645"/>
                <a:gd name="T87" fmla="*/ 211 h 774"/>
                <a:gd name="T88" fmla="*/ 632 w 645"/>
                <a:gd name="T89" fmla="*/ 265 h 774"/>
                <a:gd name="T90" fmla="*/ 645 w 645"/>
                <a:gd name="T91" fmla="*/ 386 h 774"/>
                <a:gd name="T92" fmla="*/ 641 w 645"/>
                <a:gd name="T93" fmla="*/ 458 h 774"/>
                <a:gd name="T94" fmla="*/ 624 w 645"/>
                <a:gd name="T95" fmla="*/ 543 h 774"/>
                <a:gd name="T96" fmla="*/ 594 w 645"/>
                <a:gd name="T97" fmla="*/ 616 h 774"/>
                <a:gd name="T98" fmla="*/ 551 w 645"/>
                <a:gd name="T99" fmla="*/ 678 h 7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645" h="774">
                  <a:moveTo>
                    <a:pt x="323" y="116"/>
                  </a:moveTo>
                  <a:lnTo>
                    <a:pt x="323" y="116"/>
                  </a:lnTo>
                  <a:lnTo>
                    <a:pt x="304" y="117"/>
                  </a:lnTo>
                  <a:lnTo>
                    <a:pt x="286" y="121"/>
                  </a:lnTo>
                  <a:lnTo>
                    <a:pt x="268" y="126"/>
                  </a:lnTo>
                  <a:lnTo>
                    <a:pt x="252" y="133"/>
                  </a:lnTo>
                  <a:lnTo>
                    <a:pt x="237" y="143"/>
                  </a:lnTo>
                  <a:lnTo>
                    <a:pt x="225" y="154"/>
                  </a:lnTo>
                  <a:lnTo>
                    <a:pt x="213" y="168"/>
                  </a:lnTo>
                  <a:lnTo>
                    <a:pt x="202" y="184"/>
                  </a:lnTo>
                  <a:lnTo>
                    <a:pt x="193" y="202"/>
                  </a:lnTo>
                  <a:lnTo>
                    <a:pt x="184" y="222"/>
                  </a:lnTo>
                  <a:lnTo>
                    <a:pt x="177" y="244"/>
                  </a:lnTo>
                  <a:lnTo>
                    <a:pt x="172" y="268"/>
                  </a:lnTo>
                  <a:lnTo>
                    <a:pt x="167" y="294"/>
                  </a:lnTo>
                  <a:lnTo>
                    <a:pt x="165" y="322"/>
                  </a:lnTo>
                  <a:lnTo>
                    <a:pt x="162" y="353"/>
                  </a:lnTo>
                  <a:lnTo>
                    <a:pt x="161" y="385"/>
                  </a:lnTo>
                  <a:lnTo>
                    <a:pt x="161" y="385"/>
                  </a:lnTo>
                  <a:lnTo>
                    <a:pt x="162" y="419"/>
                  </a:lnTo>
                  <a:lnTo>
                    <a:pt x="165" y="449"/>
                  </a:lnTo>
                  <a:lnTo>
                    <a:pt x="167" y="478"/>
                  </a:lnTo>
                  <a:lnTo>
                    <a:pt x="172" y="504"/>
                  </a:lnTo>
                  <a:lnTo>
                    <a:pt x="177" y="528"/>
                  </a:lnTo>
                  <a:lnTo>
                    <a:pt x="184" y="549"/>
                  </a:lnTo>
                  <a:lnTo>
                    <a:pt x="193" y="570"/>
                  </a:lnTo>
                  <a:lnTo>
                    <a:pt x="202" y="588"/>
                  </a:lnTo>
                  <a:lnTo>
                    <a:pt x="213" y="604"/>
                  </a:lnTo>
                  <a:lnTo>
                    <a:pt x="225" y="617"/>
                  </a:lnTo>
                  <a:lnTo>
                    <a:pt x="237" y="628"/>
                  </a:lnTo>
                  <a:lnTo>
                    <a:pt x="252" y="638"/>
                  </a:lnTo>
                  <a:lnTo>
                    <a:pt x="268" y="646"/>
                  </a:lnTo>
                  <a:lnTo>
                    <a:pt x="286" y="651"/>
                  </a:lnTo>
                  <a:lnTo>
                    <a:pt x="304" y="653"/>
                  </a:lnTo>
                  <a:lnTo>
                    <a:pt x="323" y="654"/>
                  </a:lnTo>
                  <a:lnTo>
                    <a:pt x="323" y="654"/>
                  </a:lnTo>
                  <a:lnTo>
                    <a:pt x="342" y="653"/>
                  </a:lnTo>
                  <a:lnTo>
                    <a:pt x="361" y="651"/>
                  </a:lnTo>
                  <a:lnTo>
                    <a:pt x="378" y="646"/>
                  </a:lnTo>
                  <a:lnTo>
                    <a:pt x="394" y="638"/>
                  </a:lnTo>
                  <a:lnTo>
                    <a:pt x="409" y="628"/>
                  </a:lnTo>
                  <a:lnTo>
                    <a:pt x="423" y="617"/>
                  </a:lnTo>
                  <a:lnTo>
                    <a:pt x="434" y="603"/>
                  </a:lnTo>
                  <a:lnTo>
                    <a:pt x="445" y="588"/>
                  </a:lnTo>
                  <a:lnTo>
                    <a:pt x="455" y="569"/>
                  </a:lnTo>
                  <a:lnTo>
                    <a:pt x="463" y="549"/>
                  </a:lnTo>
                  <a:lnTo>
                    <a:pt x="469" y="527"/>
                  </a:lnTo>
                  <a:lnTo>
                    <a:pt x="476" y="504"/>
                  </a:lnTo>
                  <a:lnTo>
                    <a:pt x="479" y="477"/>
                  </a:lnTo>
                  <a:lnTo>
                    <a:pt x="483" y="448"/>
                  </a:lnTo>
                  <a:lnTo>
                    <a:pt x="486" y="419"/>
                  </a:lnTo>
                  <a:lnTo>
                    <a:pt x="486" y="385"/>
                  </a:lnTo>
                  <a:lnTo>
                    <a:pt x="486" y="385"/>
                  </a:lnTo>
                  <a:lnTo>
                    <a:pt x="486" y="353"/>
                  </a:lnTo>
                  <a:lnTo>
                    <a:pt x="483" y="322"/>
                  </a:lnTo>
                  <a:lnTo>
                    <a:pt x="481" y="294"/>
                  </a:lnTo>
                  <a:lnTo>
                    <a:pt x="476" y="268"/>
                  </a:lnTo>
                  <a:lnTo>
                    <a:pt x="471" y="244"/>
                  </a:lnTo>
                  <a:lnTo>
                    <a:pt x="463" y="222"/>
                  </a:lnTo>
                  <a:lnTo>
                    <a:pt x="455" y="202"/>
                  </a:lnTo>
                  <a:lnTo>
                    <a:pt x="445" y="184"/>
                  </a:lnTo>
                  <a:lnTo>
                    <a:pt x="435" y="168"/>
                  </a:lnTo>
                  <a:lnTo>
                    <a:pt x="423" y="154"/>
                  </a:lnTo>
                  <a:lnTo>
                    <a:pt x="409" y="143"/>
                  </a:lnTo>
                  <a:lnTo>
                    <a:pt x="394" y="133"/>
                  </a:lnTo>
                  <a:lnTo>
                    <a:pt x="378" y="126"/>
                  </a:lnTo>
                  <a:lnTo>
                    <a:pt x="361" y="121"/>
                  </a:lnTo>
                  <a:lnTo>
                    <a:pt x="342" y="117"/>
                  </a:lnTo>
                  <a:lnTo>
                    <a:pt x="323" y="116"/>
                  </a:lnTo>
                  <a:close/>
                  <a:moveTo>
                    <a:pt x="537" y="691"/>
                  </a:moveTo>
                  <a:lnTo>
                    <a:pt x="537" y="691"/>
                  </a:lnTo>
                  <a:lnTo>
                    <a:pt x="527" y="701"/>
                  </a:lnTo>
                  <a:lnTo>
                    <a:pt x="516" y="711"/>
                  </a:lnTo>
                  <a:lnTo>
                    <a:pt x="505" y="719"/>
                  </a:lnTo>
                  <a:lnTo>
                    <a:pt x="494" y="727"/>
                  </a:lnTo>
                  <a:lnTo>
                    <a:pt x="482" y="735"/>
                  </a:lnTo>
                  <a:lnTo>
                    <a:pt x="469" y="741"/>
                  </a:lnTo>
                  <a:lnTo>
                    <a:pt x="456" y="747"/>
                  </a:lnTo>
                  <a:lnTo>
                    <a:pt x="444" y="753"/>
                  </a:lnTo>
                  <a:lnTo>
                    <a:pt x="415" y="762"/>
                  </a:lnTo>
                  <a:lnTo>
                    <a:pt x="386" y="768"/>
                  </a:lnTo>
                  <a:lnTo>
                    <a:pt x="355" y="773"/>
                  </a:lnTo>
                  <a:lnTo>
                    <a:pt x="323" y="774"/>
                  </a:lnTo>
                  <a:lnTo>
                    <a:pt x="323" y="774"/>
                  </a:lnTo>
                  <a:lnTo>
                    <a:pt x="303" y="773"/>
                  </a:lnTo>
                  <a:lnTo>
                    <a:pt x="284" y="772"/>
                  </a:lnTo>
                  <a:lnTo>
                    <a:pt x="267" y="769"/>
                  </a:lnTo>
                  <a:lnTo>
                    <a:pt x="249" y="767"/>
                  </a:lnTo>
                  <a:lnTo>
                    <a:pt x="233" y="763"/>
                  </a:lnTo>
                  <a:lnTo>
                    <a:pt x="215" y="758"/>
                  </a:lnTo>
                  <a:lnTo>
                    <a:pt x="200" y="753"/>
                  </a:lnTo>
                  <a:lnTo>
                    <a:pt x="184" y="747"/>
                  </a:lnTo>
                  <a:lnTo>
                    <a:pt x="184" y="747"/>
                  </a:lnTo>
                  <a:lnTo>
                    <a:pt x="170" y="740"/>
                  </a:lnTo>
                  <a:lnTo>
                    <a:pt x="156" y="731"/>
                  </a:lnTo>
                  <a:lnTo>
                    <a:pt x="142" y="722"/>
                  </a:lnTo>
                  <a:lnTo>
                    <a:pt x="130" y="714"/>
                  </a:lnTo>
                  <a:lnTo>
                    <a:pt x="118" y="703"/>
                  </a:lnTo>
                  <a:lnTo>
                    <a:pt x="105" y="691"/>
                  </a:lnTo>
                  <a:lnTo>
                    <a:pt x="94" y="680"/>
                  </a:lnTo>
                  <a:lnTo>
                    <a:pt x="84" y="667"/>
                  </a:lnTo>
                  <a:lnTo>
                    <a:pt x="84" y="667"/>
                  </a:lnTo>
                  <a:lnTo>
                    <a:pt x="75" y="654"/>
                  </a:lnTo>
                  <a:lnTo>
                    <a:pt x="65" y="641"/>
                  </a:lnTo>
                  <a:lnTo>
                    <a:pt x="56" y="626"/>
                  </a:lnTo>
                  <a:lnTo>
                    <a:pt x="47" y="611"/>
                  </a:lnTo>
                  <a:lnTo>
                    <a:pt x="40" y="596"/>
                  </a:lnTo>
                  <a:lnTo>
                    <a:pt x="34" y="579"/>
                  </a:lnTo>
                  <a:lnTo>
                    <a:pt x="26" y="563"/>
                  </a:lnTo>
                  <a:lnTo>
                    <a:pt x="21" y="546"/>
                  </a:lnTo>
                  <a:lnTo>
                    <a:pt x="21" y="546"/>
                  </a:lnTo>
                  <a:lnTo>
                    <a:pt x="17" y="527"/>
                  </a:lnTo>
                  <a:lnTo>
                    <a:pt x="12" y="509"/>
                  </a:lnTo>
                  <a:lnTo>
                    <a:pt x="8" y="490"/>
                  </a:lnTo>
                  <a:lnTo>
                    <a:pt x="5" y="470"/>
                  </a:lnTo>
                  <a:lnTo>
                    <a:pt x="2" y="430"/>
                  </a:lnTo>
                  <a:lnTo>
                    <a:pt x="0" y="386"/>
                  </a:lnTo>
                  <a:lnTo>
                    <a:pt x="0" y="386"/>
                  </a:lnTo>
                  <a:lnTo>
                    <a:pt x="2" y="344"/>
                  </a:lnTo>
                  <a:lnTo>
                    <a:pt x="5" y="304"/>
                  </a:lnTo>
                  <a:lnTo>
                    <a:pt x="8" y="284"/>
                  </a:lnTo>
                  <a:lnTo>
                    <a:pt x="12" y="265"/>
                  </a:lnTo>
                  <a:lnTo>
                    <a:pt x="17" y="247"/>
                  </a:lnTo>
                  <a:lnTo>
                    <a:pt x="21" y="228"/>
                  </a:lnTo>
                  <a:lnTo>
                    <a:pt x="21" y="228"/>
                  </a:lnTo>
                  <a:lnTo>
                    <a:pt x="34" y="194"/>
                  </a:lnTo>
                  <a:lnTo>
                    <a:pt x="40" y="178"/>
                  </a:lnTo>
                  <a:lnTo>
                    <a:pt x="47" y="162"/>
                  </a:lnTo>
                  <a:lnTo>
                    <a:pt x="56" y="147"/>
                  </a:lnTo>
                  <a:lnTo>
                    <a:pt x="65" y="133"/>
                  </a:lnTo>
                  <a:lnTo>
                    <a:pt x="75" y="119"/>
                  </a:lnTo>
                  <a:lnTo>
                    <a:pt x="84" y="106"/>
                  </a:lnTo>
                  <a:lnTo>
                    <a:pt x="84" y="106"/>
                  </a:lnTo>
                  <a:lnTo>
                    <a:pt x="94" y="94"/>
                  </a:lnTo>
                  <a:lnTo>
                    <a:pt x="105" y="81"/>
                  </a:lnTo>
                  <a:lnTo>
                    <a:pt x="118" y="70"/>
                  </a:lnTo>
                  <a:lnTo>
                    <a:pt x="130" y="60"/>
                  </a:lnTo>
                  <a:lnTo>
                    <a:pt x="142" y="51"/>
                  </a:lnTo>
                  <a:lnTo>
                    <a:pt x="156" y="42"/>
                  </a:lnTo>
                  <a:lnTo>
                    <a:pt x="170" y="33"/>
                  </a:lnTo>
                  <a:lnTo>
                    <a:pt x="184" y="27"/>
                  </a:lnTo>
                  <a:lnTo>
                    <a:pt x="184" y="27"/>
                  </a:lnTo>
                  <a:lnTo>
                    <a:pt x="200" y="20"/>
                  </a:lnTo>
                  <a:lnTo>
                    <a:pt x="215" y="15"/>
                  </a:lnTo>
                  <a:lnTo>
                    <a:pt x="231" y="10"/>
                  </a:lnTo>
                  <a:lnTo>
                    <a:pt x="249" y="6"/>
                  </a:lnTo>
                  <a:lnTo>
                    <a:pt x="266" y="4"/>
                  </a:lnTo>
                  <a:lnTo>
                    <a:pt x="284" y="1"/>
                  </a:lnTo>
                  <a:lnTo>
                    <a:pt x="303" y="0"/>
                  </a:lnTo>
                  <a:lnTo>
                    <a:pt x="323" y="0"/>
                  </a:lnTo>
                  <a:lnTo>
                    <a:pt x="323" y="0"/>
                  </a:lnTo>
                  <a:lnTo>
                    <a:pt x="341" y="0"/>
                  </a:lnTo>
                  <a:lnTo>
                    <a:pt x="360" y="1"/>
                  </a:lnTo>
                  <a:lnTo>
                    <a:pt x="377" y="4"/>
                  </a:lnTo>
                  <a:lnTo>
                    <a:pt x="394" y="6"/>
                  </a:lnTo>
                  <a:lnTo>
                    <a:pt x="411" y="10"/>
                  </a:lnTo>
                  <a:lnTo>
                    <a:pt x="428" y="15"/>
                  </a:lnTo>
                  <a:lnTo>
                    <a:pt x="444" y="21"/>
                  </a:lnTo>
                  <a:lnTo>
                    <a:pt x="460" y="27"/>
                  </a:lnTo>
                  <a:lnTo>
                    <a:pt x="460" y="27"/>
                  </a:lnTo>
                  <a:lnTo>
                    <a:pt x="474" y="33"/>
                  </a:lnTo>
                  <a:lnTo>
                    <a:pt x="488" y="42"/>
                  </a:lnTo>
                  <a:lnTo>
                    <a:pt x="502" y="51"/>
                  </a:lnTo>
                  <a:lnTo>
                    <a:pt x="514" y="60"/>
                  </a:lnTo>
                  <a:lnTo>
                    <a:pt x="526" y="70"/>
                  </a:lnTo>
                  <a:lnTo>
                    <a:pt x="539" y="81"/>
                  </a:lnTo>
                  <a:lnTo>
                    <a:pt x="550" y="94"/>
                  </a:lnTo>
                  <a:lnTo>
                    <a:pt x="560" y="106"/>
                  </a:lnTo>
                  <a:lnTo>
                    <a:pt x="560" y="106"/>
                  </a:lnTo>
                  <a:lnTo>
                    <a:pt x="569" y="119"/>
                  </a:lnTo>
                  <a:lnTo>
                    <a:pt x="579" y="133"/>
                  </a:lnTo>
                  <a:lnTo>
                    <a:pt x="588" y="147"/>
                  </a:lnTo>
                  <a:lnTo>
                    <a:pt x="597" y="162"/>
                  </a:lnTo>
                  <a:lnTo>
                    <a:pt x="604" y="178"/>
                  </a:lnTo>
                  <a:lnTo>
                    <a:pt x="611" y="194"/>
                  </a:lnTo>
                  <a:lnTo>
                    <a:pt x="618" y="211"/>
                  </a:lnTo>
                  <a:lnTo>
                    <a:pt x="623" y="228"/>
                  </a:lnTo>
                  <a:lnTo>
                    <a:pt x="623" y="228"/>
                  </a:lnTo>
                  <a:lnTo>
                    <a:pt x="627" y="247"/>
                  </a:lnTo>
                  <a:lnTo>
                    <a:pt x="632" y="265"/>
                  </a:lnTo>
                  <a:lnTo>
                    <a:pt x="636" y="284"/>
                  </a:lnTo>
                  <a:lnTo>
                    <a:pt x="639" y="304"/>
                  </a:lnTo>
                  <a:lnTo>
                    <a:pt x="644" y="344"/>
                  </a:lnTo>
                  <a:lnTo>
                    <a:pt x="645" y="386"/>
                  </a:lnTo>
                  <a:lnTo>
                    <a:pt x="645" y="386"/>
                  </a:lnTo>
                  <a:lnTo>
                    <a:pt x="644" y="411"/>
                  </a:lnTo>
                  <a:lnTo>
                    <a:pt x="642" y="435"/>
                  </a:lnTo>
                  <a:lnTo>
                    <a:pt x="641" y="458"/>
                  </a:lnTo>
                  <a:lnTo>
                    <a:pt x="637" y="480"/>
                  </a:lnTo>
                  <a:lnTo>
                    <a:pt x="634" y="501"/>
                  </a:lnTo>
                  <a:lnTo>
                    <a:pt x="629" y="522"/>
                  </a:lnTo>
                  <a:lnTo>
                    <a:pt x="624" y="543"/>
                  </a:lnTo>
                  <a:lnTo>
                    <a:pt x="618" y="562"/>
                  </a:lnTo>
                  <a:lnTo>
                    <a:pt x="610" y="582"/>
                  </a:lnTo>
                  <a:lnTo>
                    <a:pt x="603" y="599"/>
                  </a:lnTo>
                  <a:lnTo>
                    <a:pt x="594" y="616"/>
                  </a:lnTo>
                  <a:lnTo>
                    <a:pt x="584" y="632"/>
                  </a:lnTo>
                  <a:lnTo>
                    <a:pt x="574" y="648"/>
                  </a:lnTo>
                  <a:lnTo>
                    <a:pt x="562" y="663"/>
                  </a:lnTo>
                  <a:lnTo>
                    <a:pt x="551" y="678"/>
                  </a:lnTo>
                  <a:lnTo>
                    <a:pt x="537" y="6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dirty="0"/>
            </a:p>
          </p:txBody>
        </p:sp>
        <p:sp>
          <p:nvSpPr>
            <p:cNvPr id="44" name="Freeform 203"/>
            <p:cNvSpPr>
              <a:spLocks noEditPoints="1"/>
            </p:cNvSpPr>
            <p:nvPr/>
          </p:nvSpPr>
          <p:spPr bwMode="auto">
            <a:xfrm>
              <a:off x="2875945" y="3868086"/>
              <a:ext cx="551780" cy="989930"/>
            </a:xfrm>
            <a:custGeom>
              <a:avLst/>
              <a:gdLst>
                <a:gd name="T0" fmla="*/ 302 w 607"/>
                <a:gd name="T1" fmla="*/ 130 h 1089"/>
                <a:gd name="T2" fmla="*/ 268 w 607"/>
                <a:gd name="T3" fmla="*/ 136 h 1089"/>
                <a:gd name="T4" fmla="*/ 236 w 607"/>
                <a:gd name="T5" fmla="*/ 148 h 1089"/>
                <a:gd name="T6" fmla="*/ 205 w 607"/>
                <a:gd name="T7" fmla="*/ 167 h 1089"/>
                <a:gd name="T8" fmla="*/ 152 w 607"/>
                <a:gd name="T9" fmla="*/ 226 h 1089"/>
                <a:gd name="T10" fmla="*/ 170 w 607"/>
                <a:gd name="T11" fmla="*/ 604 h 1089"/>
                <a:gd name="T12" fmla="*/ 227 w 607"/>
                <a:gd name="T13" fmla="*/ 631 h 1089"/>
                <a:gd name="T14" fmla="*/ 263 w 607"/>
                <a:gd name="T15" fmla="*/ 642 h 1089"/>
                <a:gd name="T16" fmla="*/ 296 w 607"/>
                <a:gd name="T17" fmla="*/ 646 h 1089"/>
                <a:gd name="T18" fmla="*/ 344 w 607"/>
                <a:gd name="T19" fmla="*/ 636 h 1089"/>
                <a:gd name="T20" fmla="*/ 386 w 607"/>
                <a:gd name="T21" fmla="*/ 607 h 1089"/>
                <a:gd name="T22" fmla="*/ 409 w 607"/>
                <a:gd name="T23" fmla="*/ 578 h 1089"/>
                <a:gd name="T24" fmla="*/ 434 w 607"/>
                <a:gd name="T25" fmla="*/ 517 h 1089"/>
                <a:gd name="T26" fmla="*/ 448 w 607"/>
                <a:gd name="T27" fmla="*/ 442 h 1089"/>
                <a:gd name="T28" fmla="*/ 452 w 607"/>
                <a:gd name="T29" fmla="*/ 382 h 1089"/>
                <a:gd name="T30" fmla="*/ 446 w 607"/>
                <a:gd name="T31" fmla="*/ 294 h 1089"/>
                <a:gd name="T32" fmla="*/ 430 w 607"/>
                <a:gd name="T33" fmla="*/ 226 h 1089"/>
                <a:gd name="T34" fmla="*/ 412 w 607"/>
                <a:gd name="T35" fmla="*/ 190 h 1089"/>
                <a:gd name="T36" fmla="*/ 380 w 607"/>
                <a:gd name="T37" fmla="*/ 153 h 1089"/>
                <a:gd name="T38" fmla="*/ 343 w 607"/>
                <a:gd name="T39" fmla="*/ 133 h 1089"/>
                <a:gd name="T40" fmla="*/ 321 w 607"/>
                <a:gd name="T41" fmla="*/ 768 h 1089"/>
                <a:gd name="T42" fmla="*/ 279 w 607"/>
                <a:gd name="T43" fmla="*/ 764 h 1089"/>
                <a:gd name="T44" fmla="*/ 216 w 607"/>
                <a:gd name="T45" fmla="*/ 748 h 1089"/>
                <a:gd name="T46" fmla="*/ 152 w 607"/>
                <a:gd name="T47" fmla="*/ 719 h 1089"/>
                <a:gd name="T48" fmla="*/ 151 w 607"/>
                <a:gd name="T49" fmla="*/ 1015 h 1089"/>
                <a:gd name="T50" fmla="*/ 141 w 607"/>
                <a:gd name="T51" fmla="*/ 1053 h 1089"/>
                <a:gd name="T52" fmla="*/ 133 w 607"/>
                <a:gd name="T53" fmla="*/ 1066 h 1089"/>
                <a:gd name="T54" fmla="*/ 115 w 607"/>
                <a:gd name="T55" fmla="*/ 1080 h 1089"/>
                <a:gd name="T56" fmla="*/ 90 w 607"/>
                <a:gd name="T57" fmla="*/ 1088 h 1089"/>
                <a:gd name="T58" fmla="*/ 9 w 607"/>
                <a:gd name="T59" fmla="*/ 1089 h 1089"/>
                <a:gd name="T60" fmla="*/ 9 w 607"/>
                <a:gd name="T61" fmla="*/ 14 h 1089"/>
                <a:gd name="T62" fmla="*/ 73 w 607"/>
                <a:gd name="T63" fmla="*/ 15 h 1089"/>
                <a:gd name="T64" fmla="*/ 110 w 607"/>
                <a:gd name="T65" fmla="*/ 27 h 1089"/>
                <a:gd name="T66" fmla="*/ 135 w 607"/>
                <a:gd name="T67" fmla="*/ 56 h 1089"/>
                <a:gd name="T68" fmla="*/ 147 w 607"/>
                <a:gd name="T69" fmla="*/ 89 h 1089"/>
                <a:gd name="T70" fmla="*/ 216 w 607"/>
                <a:gd name="T71" fmla="*/ 35 h 1089"/>
                <a:gd name="T72" fmla="*/ 254 w 607"/>
                <a:gd name="T73" fmla="*/ 17 h 1089"/>
                <a:gd name="T74" fmla="*/ 323 w 607"/>
                <a:gd name="T75" fmla="*/ 1 h 1089"/>
                <a:gd name="T76" fmla="*/ 368 w 607"/>
                <a:gd name="T77" fmla="*/ 0 h 1089"/>
                <a:gd name="T78" fmla="*/ 410 w 607"/>
                <a:gd name="T79" fmla="*/ 6 h 1089"/>
                <a:gd name="T80" fmla="*/ 449 w 607"/>
                <a:gd name="T81" fmla="*/ 20 h 1089"/>
                <a:gd name="T82" fmla="*/ 473 w 607"/>
                <a:gd name="T83" fmla="*/ 33 h 1089"/>
                <a:gd name="T84" fmla="*/ 505 w 607"/>
                <a:gd name="T85" fmla="*/ 59 h 1089"/>
                <a:gd name="T86" fmla="*/ 532 w 607"/>
                <a:gd name="T87" fmla="*/ 91 h 1089"/>
                <a:gd name="T88" fmla="*/ 555 w 607"/>
                <a:gd name="T89" fmla="*/ 131 h 1089"/>
                <a:gd name="T90" fmla="*/ 590 w 607"/>
                <a:gd name="T91" fmla="*/ 225 h 1089"/>
                <a:gd name="T92" fmla="*/ 602 w 607"/>
                <a:gd name="T93" fmla="*/ 300 h 1089"/>
                <a:gd name="T94" fmla="*/ 607 w 607"/>
                <a:gd name="T95" fmla="*/ 385 h 1089"/>
                <a:gd name="T96" fmla="*/ 601 w 607"/>
                <a:gd name="T97" fmla="*/ 469 h 1089"/>
                <a:gd name="T98" fmla="*/ 590 w 607"/>
                <a:gd name="T99" fmla="*/ 527 h 1089"/>
                <a:gd name="T100" fmla="*/ 579 w 607"/>
                <a:gd name="T101" fmla="*/ 563 h 1089"/>
                <a:gd name="T102" fmla="*/ 558 w 607"/>
                <a:gd name="T103" fmla="*/ 611 h 1089"/>
                <a:gd name="T104" fmla="*/ 532 w 607"/>
                <a:gd name="T105" fmla="*/ 653 h 1089"/>
                <a:gd name="T106" fmla="*/ 512 w 607"/>
                <a:gd name="T107" fmla="*/ 678 h 1089"/>
                <a:gd name="T108" fmla="*/ 480 w 607"/>
                <a:gd name="T109" fmla="*/ 710 h 1089"/>
                <a:gd name="T110" fmla="*/ 444 w 607"/>
                <a:gd name="T111" fmla="*/ 735 h 1089"/>
                <a:gd name="T112" fmla="*/ 417 w 607"/>
                <a:gd name="T113" fmla="*/ 748 h 1089"/>
                <a:gd name="T114" fmla="*/ 378 w 607"/>
                <a:gd name="T115" fmla="*/ 762 h 1089"/>
                <a:gd name="T116" fmla="*/ 335 w 607"/>
                <a:gd name="T117" fmla="*/ 768 h 10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07" h="1089">
                  <a:moveTo>
                    <a:pt x="315" y="130"/>
                  </a:moveTo>
                  <a:lnTo>
                    <a:pt x="315" y="130"/>
                  </a:lnTo>
                  <a:lnTo>
                    <a:pt x="302" y="130"/>
                  </a:lnTo>
                  <a:lnTo>
                    <a:pt x="291" y="131"/>
                  </a:lnTo>
                  <a:lnTo>
                    <a:pt x="279" y="132"/>
                  </a:lnTo>
                  <a:lnTo>
                    <a:pt x="268" y="136"/>
                  </a:lnTo>
                  <a:lnTo>
                    <a:pt x="257" y="138"/>
                  </a:lnTo>
                  <a:lnTo>
                    <a:pt x="247" y="143"/>
                  </a:lnTo>
                  <a:lnTo>
                    <a:pt x="236" y="148"/>
                  </a:lnTo>
                  <a:lnTo>
                    <a:pt x="226" y="153"/>
                  </a:lnTo>
                  <a:lnTo>
                    <a:pt x="215" y="159"/>
                  </a:lnTo>
                  <a:lnTo>
                    <a:pt x="205" y="167"/>
                  </a:lnTo>
                  <a:lnTo>
                    <a:pt x="186" y="184"/>
                  </a:lnTo>
                  <a:lnTo>
                    <a:pt x="168" y="204"/>
                  </a:lnTo>
                  <a:lnTo>
                    <a:pt x="152" y="226"/>
                  </a:lnTo>
                  <a:lnTo>
                    <a:pt x="152" y="591"/>
                  </a:lnTo>
                  <a:lnTo>
                    <a:pt x="152" y="591"/>
                  </a:lnTo>
                  <a:lnTo>
                    <a:pt x="170" y="604"/>
                  </a:lnTo>
                  <a:lnTo>
                    <a:pt x="190" y="614"/>
                  </a:lnTo>
                  <a:lnTo>
                    <a:pt x="209" y="624"/>
                  </a:lnTo>
                  <a:lnTo>
                    <a:pt x="227" y="631"/>
                  </a:lnTo>
                  <a:lnTo>
                    <a:pt x="227" y="631"/>
                  </a:lnTo>
                  <a:lnTo>
                    <a:pt x="244" y="638"/>
                  </a:lnTo>
                  <a:lnTo>
                    <a:pt x="263" y="642"/>
                  </a:lnTo>
                  <a:lnTo>
                    <a:pt x="279" y="645"/>
                  </a:lnTo>
                  <a:lnTo>
                    <a:pt x="296" y="646"/>
                  </a:lnTo>
                  <a:lnTo>
                    <a:pt x="296" y="646"/>
                  </a:lnTo>
                  <a:lnTo>
                    <a:pt x="314" y="645"/>
                  </a:lnTo>
                  <a:lnTo>
                    <a:pt x="330" y="642"/>
                  </a:lnTo>
                  <a:lnTo>
                    <a:pt x="344" y="636"/>
                  </a:lnTo>
                  <a:lnTo>
                    <a:pt x="359" y="628"/>
                  </a:lnTo>
                  <a:lnTo>
                    <a:pt x="373" y="619"/>
                  </a:lnTo>
                  <a:lnTo>
                    <a:pt x="386" y="607"/>
                  </a:lnTo>
                  <a:lnTo>
                    <a:pt x="397" y="594"/>
                  </a:lnTo>
                  <a:lnTo>
                    <a:pt x="409" y="578"/>
                  </a:lnTo>
                  <a:lnTo>
                    <a:pt x="409" y="578"/>
                  </a:lnTo>
                  <a:lnTo>
                    <a:pt x="418" y="559"/>
                  </a:lnTo>
                  <a:lnTo>
                    <a:pt x="427" y="540"/>
                  </a:lnTo>
                  <a:lnTo>
                    <a:pt x="434" y="517"/>
                  </a:lnTo>
                  <a:lnTo>
                    <a:pt x="441" y="494"/>
                  </a:lnTo>
                  <a:lnTo>
                    <a:pt x="446" y="469"/>
                  </a:lnTo>
                  <a:lnTo>
                    <a:pt x="448" y="442"/>
                  </a:lnTo>
                  <a:lnTo>
                    <a:pt x="451" y="412"/>
                  </a:lnTo>
                  <a:lnTo>
                    <a:pt x="452" y="382"/>
                  </a:lnTo>
                  <a:lnTo>
                    <a:pt x="452" y="382"/>
                  </a:lnTo>
                  <a:lnTo>
                    <a:pt x="451" y="351"/>
                  </a:lnTo>
                  <a:lnTo>
                    <a:pt x="449" y="321"/>
                  </a:lnTo>
                  <a:lnTo>
                    <a:pt x="446" y="294"/>
                  </a:lnTo>
                  <a:lnTo>
                    <a:pt x="442" y="269"/>
                  </a:lnTo>
                  <a:lnTo>
                    <a:pt x="436" y="247"/>
                  </a:lnTo>
                  <a:lnTo>
                    <a:pt x="430" y="226"/>
                  </a:lnTo>
                  <a:lnTo>
                    <a:pt x="422" y="207"/>
                  </a:lnTo>
                  <a:lnTo>
                    <a:pt x="412" y="190"/>
                  </a:lnTo>
                  <a:lnTo>
                    <a:pt x="412" y="190"/>
                  </a:lnTo>
                  <a:lnTo>
                    <a:pt x="402" y="175"/>
                  </a:lnTo>
                  <a:lnTo>
                    <a:pt x="391" y="163"/>
                  </a:lnTo>
                  <a:lnTo>
                    <a:pt x="380" y="153"/>
                  </a:lnTo>
                  <a:lnTo>
                    <a:pt x="368" y="144"/>
                  </a:lnTo>
                  <a:lnTo>
                    <a:pt x="356" y="138"/>
                  </a:lnTo>
                  <a:lnTo>
                    <a:pt x="343" y="133"/>
                  </a:lnTo>
                  <a:lnTo>
                    <a:pt x="330" y="130"/>
                  </a:lnTo>
                  <a:lnTo>
                    <a:pt x="315" y="130"/>
                  </a:lnTo>
                  <a:close/>
                  <a:moveTo>
                    <a:pt x="321" y="768"/>
                  </a:moveTo>
                  <a:lnTo>
                    <a:pt x="321" y="768"/>
                  </a:lnTo>
                  <a:lnTo>
                    <a:pt x="300" y="767"/>
                  </a:lnTo>
                  <a:lnTo>
                    <a:pt x="279" y="764"/>
                  </a:lnTo>
                  <a:lnTo>
                    <a:pt x="258" y="761"/>
                  </a:lnTo>
                  <a:lnTo>
                    <a:pt x="237" y="756"/>
                  </a:lnTo>
                  <a:lnTo>
                    <a:pt x="216" y="748"/>
                  </a:lnTo>
                  <a:lnTo>
                    <a:pt x="194" y="740"/>
                  </a:lnTo>
                  <a:lnTo>
                    <a:pt x="173" y="730"/>
                  </a:lnTo>
                  <a:lnTo>
                    <a:pt x="152" y="719"/>
                  </a:lnTo>
                  <a:lnTo>
                    <a:pt x="152" y="990"/>
                  </a:lnTo>
                  <a:lnTo>
                    <a:pt x="152" y="990"/>
                  </a:lnTo>
                  <a:lnTo>
                    <a:pt x="151" y="1015"/>
                  </a:lnTo>
                  <a:lnTo>
                    <a:pt x="147" y="1036"/>
                  </a:lnTo>
                  <a:lnTo>
                    <a:pt x="144" y="1045"/>
                  </a:lnTo>
                  <a:lnTo>
                    <a:pt x="141" y="1053"/>
                  </a:lnTo>
                  <a:lnTo>
                    <a:pt x="137" y="1059"/>
                  </a:lnTo>
                  <a:lnTo>
                    <a:pt x="133" y="1066"/>
                  </a:lnTo>
                  <a:lnTo>
                    <a:pt x="133" y="1066"/>
                  </a:lnTo>
                  <a:lnTo>
                    <a:pt x="128" y="1072"/>
                  </a:lnTo>
                  <a:lnTo>
                    <a:pt x="122" y="1077"/>
                  </a:lnTo>
                  <a:lnTo>
                    <a:pt x="115" y="1080"/>
                  </a:lnTo>
                  <a:lnTo>
                    <a:pt x="107" y="1083"/>
                  </a:lnTo>
                  <a:lnTo>
                    <a:pt x="99" y="1087"/>
                  </a:lnTo>
                  <a:lnTo>
                    <a:pt x="90" y="1088"/>
                  </a:lnTo>
                  <a:lnTo>
                    <a:pt x="79" y="1089"/>
                  </a:lnTo>
                  <a:lnTo>
                    <a:pt x="68" y="1089"/>
                  </a:lnTo>
                  <a:lnTo>
                    <a:pt x="9" y="1089"/>
                  </a:lnTo>
                  <a:lnTo>
                    <a:pt x="0" y="1080"/>
                  </a:lnTo>
                  <a:lnTo>
                    <a:pt x="0" y="22"/>
                  </a:lnTo>
                  <a:lnTo>
                    <a:pt x="9" y="14"/>
                  </a:lnTo>
                  <a:lnTo>
                    <a:pt x="56" y="14"/>
                  </a:lnTo>
                  <a:lnTo>
                    <a:pt x="56" y="14"/>
                  </a:lnTo>
                  <a:lnTo>
                    <a:pt x="73" y="15"/>
                  </a:lnTo>
                  <a:lnTo>
                    <a:pt x="89" y="17"/>
                  </a:lnTo>
                  <a:lnTo>
                    <a:pt x="104" y="23"/>
                  </a:lnTo>
                  <a:lnTo>
                    <a:pt x="110" y="27"/>
                  </a:lnTo>
                  <a:lnTo>
                    <a:pt x="116" y="32"/>
                  </a:lnTo>
                  <a:lnTo>
                    <a:pt x="126" y="42"/>
                  </a:lnTo>
                  <a:lnTo>
                    <a:pt x="135" y="56"/>
                  </a:lnTo>
                  <a:lnTo>
                    <a:pt x="142" y="70"/>
                  </a:lnTo>
                  <a:lnTo>
                    <a:pt x="147" y="89"/>
                  </a:lnTo>
                  <a:lnTo>
                    <a:pt x="147" y="89"/>
                  </a:lnTo>
                  <a:lnTo>
                    <a:pt x="168" y="68"/>
                  </a:lnTo>
                  <a:lnTo>
                    <a:pt x="191" y="49"/>
                  </a:lnTo>
                  <a:lnTo>
                    <a:pt x="216" y="35"/>
                  </a:lnTo>
                  <a:lnTo>
                    <a:pt x="228" y="28"/>
                  </a:lnTo>
                  <a:lnTo>
                    <a:pt x="241" y="22"/>
                  </a:lnTo>
                  <a:lnTo>
                    <a:pt x="254" y="17"/>
                  </a:lnTo>
                  <a:lnTo>
                    <a:pt x="268" y="12"/>
                  </a:lnTo>
                  <a:lnTo>
                    <a:pt x="295" y="5"/>
                  </a:lnTo>
                  <a:lnTo>
                    <a:pt x="323" y="1"/>
                  </a:lnTo>
                  <a:lnTo>
                    <a:pt x="353" y="0"/>
                  </a:lnTo>
                  <a:lnTo>
                    <a:pt x="353" y="0"/>
                  </a:lnTo>
                  <a:lnTo>
                    <a:pt x="368" y="0"/>
                  </a:lnTo>
                  <a:lnTo>
                    <a:pt x="383" y="1"/>
                  </a:lnTo>
                  <a:lnTo>
                    <a:pt x="396" y="4"/>
                  </a:lnTo>
                  <a:lnTo>
                    <a:pt x="410" y="6"/>
                  </a:lnTo>
                  <a:lnTo>
                    <a:pt x="423" y="10"/>
                  </a:lnTo>
                  <a:lnTo>
                    <a:pt x="436" y="15"/>
                  </a:lnTo>
                  <a:lnTo>
                    <a:pt x="449" y="20"/>
                  </a:lnTo>
                  <a:lnTo>
                    <a:pt x="460" y="27"/>
                  </a:lnTo>
                  <a:lnTo>
                    <a:pt x="460" y="27"/>
                  </a:lnTo>
                  <a:lnTo>
                    <a:pt x="473" y="33"/>
                  </a:lnTo>
                  <a:lnTo>
                    <a:pt x="484" y="41"/>
                  </a:lnTo>
                  <a:lnTo>
                    <a:pt x="495" y="49"/>
                  </a:lnTo>
                  <a:lnTo>
                    <a:pt x="505" y="59"/>
                  </a:lnTo>
                  <a:lnTo>
                    <a:pt x="515" y="69"/>
                  </a:lnTo>
                  <a:lnTo>
                    <a:pt x="523" y="80"/>
                  </a:lnTo>
                  <a:lnTo>
                    <a:pt x="532" y="91"/>
                  </a:lnTo>
                  <a:lnTo>
                    <a:pt x="541" y="104"/>
                  </a:lnTo>
                  <a:lnTo>
                    <a:pt x="541" y="104"/>
                  </a:lnTo>
                  <a:lnTo>
                    <a:pt x="555" y="131"/>
                  </a:lnTo>
                  <a:lnTo>
                    <a:pt x="569" y="159"/>
                  </a:lnTo>
                  <a:lnTo>
                    <a:pt x="580" y="191"/>
                  </a:lnTo>
                  <a:lnTo>
                    <a:pt x="590" y="225"/>
                  </a:lnTo>
                  <a:lnTo>
                    <a:pt x="590" y="225"/>
                  </a:lnTo>
                  <a:lnTo>
                    <a:pt x="597" y="262"/>
                  </a:lnTo>
                  <a:lnTo>
                    <a:pt x="602" y="300"/>
                  </a:lnTo>
                  <a:lnTo>
                    <a:pt x="606" y="342"/>
                  </a:lnTo>
                  <a:lnTo>
                    <a:pt x="607" y="385"/>
                  </a:lnTo>
                  <a:lnTo>
                    <a:pt x="607" y="385"/>
                  </a:lnTo>
                  <a:lnTo>
                    <a:pt x="606" y="428"/>
                  </a:lnTo>
                  <a:lnTo>
                    <a:pt x="604" y="449"/>
                  </a:lnTo>
                  <a:lnTo>
                    <a:pt x="601" y="469"/>
                  </a:lnTo>
                  <a:lnTo>
                    <a:pt x="599" y="489"/>
                  </a:lnTo>
                  <a:lnTo>
                    <a:pt x="595" y="509"/>
                  </a:lnTo>
                  <a:lnTo>
                    <a:pt x="590" y="527"/>
                  </a:lnTo>
                  <a:lnTo>
                    <a:pt x="585" y="546"/>
                  </a:lnTo>
                  <a:lnTo>
                    <a:pt x="585" y="546"/>
                  </a:lnTo>
                  <a:lnTo>
                    <a:pt x="579" y="563"/>
                  </a:lnTo>
                  <a:lnTo>
                    <a:pt x="573" y="579"/>
                  </a:lnTo>
                  <a:lnTo>
                    <a:pt x="565" y="596"/>
                  </a:lnTo>
                  <a:lnTo>
                    <a:pt x="558" y="611"/>
                  </a:lnTo>
                  <a:lnTo>
                    <a:pt x="551" y="626"/>
                  </a:lnTo>
                  <a:lnTo>
                    <a:pt x="542" y="641"/>
                  </a:lnTo>
                  <a:lnTo>
                    <a:pt x="532" y="653"/>
                  </a:lnTo>
                  <a:lnTo>
                    <a:pt x="523" y="667"/>
                  </a:lnTo>
                  <a:lnTo>
                    <a:pt x="523" y="667"/>
                  </a:lnTo>
                  <a:lnTo>
                    <a:pt x="512" y="678"/>
                  </a:lnTo>
                  <a:lnTo>
                    <a:pt x="502" y="689"/>
                  </a:lnTo>
                  <a:lnTo>
                    <a:pt x="491" y="700"/>
                  </a:lnTo>
                  <a:lnTo>
                    <a:pt x="480" y="710"/>
                  </a:lnTo>
                  <a:lnTo>
                    <a:pt x="468" y="719"/>
                  </a:lnTo>
                  <a:lnTo>
                    <a:pt x="457" y="727"/>
                  </a:lnTo>
                  <a:lnTo>
                    <a:pt x="444" y="735"/>
                  </a:lnTo>
                  <a:lnTo>
                    <a:pt x="431" y="742"/>
                  </a:lnTo>
                  <a:lnTo>
                    <a:pt x="431" y="742"/>
                  </a:lnTo>
                  <a:lnTo>
                    <a:pt x="417" y="748"/>
                  </a:lnTo>
                  <a:lnTo>
                    <a:pt x="405" y="753"/>
                  </a:lnTo>
                  <a:lnTo>
                    <a:pt x="391" y="758"/>
                  </a:lnTo>
                  <a:lnTo>
                    <a:pt x="378" y="762"/>
                  </a:lnTo>
                  <a:lnTo>
                    <a:pt x="363" y="764"/>
                  </a:lnTo>
                  <a:lnTo>
                    <a:pt x="349" y="767"/>
                  </a:lnTo>
                  <a:lnTo>
                    <a:pt x="335" y="768"/>
                  </a:lnTo>
                  <a:lnTo>
                    <a:pt x="321" y="7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dirty="0"/>
            </a:p>
          </p:txBody>
        </p:sp>
        <p:sp>
          <p:nvSpPr>
            <p:cNvPr id="45" name="Freeform 206"/>
            <p:cNvSpPr>
              <a:spLocks/>
            </p:cNvSpPr>
            <p:nvPr/>
          </p:nvSpPr>
          <p:spPr bwMode="auto">
            <a:xfrm>
              <a:off x="3564079" y="3876267"/>
              <a:ext cx="594503" cy="689951"/>
            </a:xfrm>
            <a:custGeom>
              <a:avLst/>
              <a:gdLst>
                <a:gd name="T0" fmla="*/ 26 w 654"/>
                <a:gd name="T1" fmla="*/ 168 h 759"/>
                <a:gd name="T2" fmla="*/ 22 w 654"/>
                <a:gd name="T3" fmla="*/ 107 h 759"/>
                <a:gd name="T4" fmla="*/ 11 w 654"/>
                <a:gd name="T5" fmla="*/ 59 h 759"/>
                <a:gd name="T6" fmla="*/ 0 w 654"/>
                <a:gd name="T7" fmla="*/ 33 h 759"/>
                <a:gd name="T8" fmla="*/ 32 w 654"/>
                <a:gd name="T9" fmla="*/ 13 h 759"/>
                <a:gd name="T10" fmla="*/ 69 w 654"/>
                <a:gd name="T11" fmla="*/ 2 h 759"/>
                <a:gd name="T12" fmla="*/ 97 w 654"/>
                <a:gd name="T13" fmla="*/ 0 h 759"/>
                <a:gd name="T14" fmla="*/ 124 w 654"/>
                <a:gd name="T15" fmla="*/ 3 h 759"/>
                <a:gd name="T16" fmla="*/ 146 w 654"/>
                <a:gd name="T17" fmla="*/ 13 h 759"/>
                <a:gd name="T18" fmla="*/ 163 w 654"/>
                <a:gd name="T19" fmla="*/ 30 h 759"/>
                <a:gd name="T20" fmla="*/ 174 w 654"/>
                <a:gd name="T21" fmla="*/ 54 h 759"/>
                <a:gd name="T22" fmla="*/ 179 w 654"/>
                <a:gd name="T23" fmla="*/ 97 h 759"/>
                <a:gd name="T24" fmla="*/ 180 w 654"/>
                <a:gd name="T25" fmla="*/ 511 h 759"/>
                <a:gd name="T26" fmla="*/ 186 w 654"/>
                <a:gd name="T27" fmla="*/ 554 h 759"/>
                <a:gd name="T28" fmla="*/ 198 w 654"/>
                <a:gd name="T29" fmla="*/ 586 h 759"/>
                <a:gd name="T30" fmla="*/ 209 w 654"/>
                <a:gd name="T31" fmla="*/ 600 h 759"/>
                <a:gd name="T32" fmla="*/ 234 w 654"/>
                <a:gd name="T33" fmla="*/ 613 h 759"/>
                <a:gd name="T34" fmla="*/ 267 w 654"/>
                <a:gd name="T35" fmla="*/ 618 h 759"/>
                <a:gd name="T36" fmla="*/ 304 w 654"/>
                <a:gd name="T37" fmla="*/ 616 h 759"/>
                <a:gd name="T38" fmla="*/ 366 w 654"/>
                <a:gd name="T39" fmla="*/ 595 h 759"/>
                <a:gd name="T40" fmla="*/ 414 w 654"/>
                <a:gd name="T41" fmla="*/ 565 h 759"/>
                <a:gd name="T42" fmla="*/ 458 w 654"/>
                <a:gd name="T43" fmla="*/ 10 h 759"/>
                <a:gd name="T44" fmla="*/ 533 w 654"/>
                <a:gd name="T45" fmla="*/ 5 h 759"/>
                <a:gd name="T46" fmla="*/ 612 w 654"/>
                <a:gd name="T47" fmla="*/ 10 h 759"/>
                <a:gd name="T48" fmla="*/ 613 w 654"/>
                <a:gd name="T49" fmla="*/ 563 h 759"/>
                <a:gd name="T50" fmla="*/ 623 w 654"/>
                <a:gd name="T51" fmla="*/ 624 h 759"/>
                <a:gd name="T52" fmla="*/ 644 w 654"/>
                <a:gd name="T53" fmla="*/ 668 h 759"/>
                <a:gd name="T54" fmla="*/ 650 w 654"/>
                <a:gd name="T55" fmla="*/ 691 h 759"/>
                <a:gd name="T56" fmla="*/ 632 w 654"/>
                <a:gd name="T57" fmla="*/ 724 h 759"/>
                <a:gd name="T58" fmla="*/ 606 w 654"/>
                <a:gd name="T59" fmla="*/ 750 h 759"/>
                <a:gd name="T60" fmla="*/ 574 w 654"/>
                <a:gd name="T61" fmla="*/ 750 h 759"/>
                <a:gd name="T62" fmla="*/ 534 w 654"/>
                <a:gd name="T63" fmla="*/ 733 h 759"/>
                <a:gd name="T64" fmla="*/ 509 w 654"/>
                <a:gd name="T65" fmla="*/ 715 h 759"/>
                <a:gd name="T66" fmla="*/ 491 w 654"/>
                <a:gd name="T67" fmla="*/ 690 h 759"/>
                <a:gd name="T68" fmla="*/ 471 w 654"/>
                <a:gd name="T69" fmla="*/ 649 h 759"/>
                <a:gd name="T70" fmla="*/ 412 w 654"/>
                <a:gd name="T71" fmla="*/ 697 h 759"/>
                <a:gd name="T72" fmla="*/ 366 w 654"/>
                <a:gd name="T73" fmla="*/ 724 h 759"/>
                <a:gd name="T74" fmla="*/ 319 w 654"/>
                <a:gd name="T75" fmla="*/ 743 h 759"/>
                <a:gd name="T76" fmla="*/ 271 w 654"/>
                <a:gd name="T77" fmla="*/ 755 h 759"/>
                <a:gd name="T78" fmla="*/ 223 w 654"/>
                <a:gd name="T79" fmla="*/ 759 h 759"/>
                <a:gd name="T80" fmla="*/ 176 w 654"/>
                <a:gd name="T81" fmla="*/ 755 h 759"/>
                <a:gd name="T82" fmla="*/ 119 w 654"/>
                <a:gd name="T83" fmla="*/ 733 h 759"/>
                <a:gd name="T84" fmla="*/ 75 w 654"/>
                <a:gd name="T85" fmla="*/ 692 h 759"/>
                <a:gd name="T86" fmla="*/ 53 w 654"/>
                <a:gd name="T87" fmla="*/ 655 h 759"/>
                <a:gd name="T88" fmla="*/ 32 w 654"/>
                <a:gd name="T89" fmla="*/ 591 h 759"/>
                <a:gd name="T90" fmla="*/ 26 w 654"/>
                <a:gd name="T91" fmla="*/ 515 h 7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654" h="759">
                  <a:moveTo>
                    <a:pt x="26" y="515"/>
                  </a:moveTo>
                  <a:lnTo>
                    <a:pt x="26" y="168"/>
                  </a:lnTo>
                  <a:lnTo>
                    <a:pt x="26" y="168"/>
                  </a:lnTo>
                  <a:lnTo>
                    <a:pt x="24" y="145"/>
                  </a:lnTo>
                  <a:lnTo>
                    <a:pt x="23" y="126"/>
                  </a:lnTo>
                  <a:lnTo>
                    <a:pt x="22" y="107"/>
                  </a:lnTo>
                  <a:lnTo>
                    <a:pt x="18" y="89"/>
                  </a:lnTo>
                  <a:lnTo>
                    <a:pt x="16" y="72"/>
                  </a:lnTo>
                  <a:lnTo>
                    <a:pt x="11" y="59"/>
                  </a:lnTo>
                  <a:lnTo>
                    <a:pt x="6" y="45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9" y="26"/>
                  </a:lnTo>
                  <a:lnTo>
                    <a:pt x="21" y="18"/>
                  </a:lnTo>
                  <a:lnTo>
                    <a:pt x="32" y="13"/>
                  </a:lnTo>
                  <a:lnTo>
                    <a:pt x="43" y="8"/>
                  </a:lnTo>
                  <a:lnTo>
                    <a:pt x="55" y="5"/>
                  </a:lnTo>
                  <a:lnTo>
                    <a:pt x="69" y="2"/>
                  </a:lnTo>
                  <a:lnTo>
                    <a:pt x="82" y="1"/>
                  </a:lnTo>
                  <a:lnTo>
                    <a:pt x="97" y="0"/>
                  </a:lnTo>
                  <a:lnTo>
                    <a:pt x="97" y="0"/>
                  </a:lnTo>
                  <a:lnTo>
                    <a:pt x="107" y="1"/>
                  </a:lnTo>
                  <a:lnTo>
                    <a:pt x="116" y="2"/>
                  </a:lnTo>
                  <a:lnTo>
                    <a:pt x="124" y="3"/>
                  </a:lnTo>
                  <a:lnTo>
                    <a:pt x="133" y="6"/>
                  </a:lnTo>
                  <a:lnTo>
                    <a:pt x="140" y="10"/>
                  </a:lnTo>
                  <a:lnTo>
                    <a:pt x="146" y="13"/>
                  </a:lnTo>
                  <a:lnTo>
                    <a:pt x="153" y="18"/>
                  </a:lnTo>
                  <a:lnTo>
                    <a:pt x="158" y="24"/>
                  </a:lnTo>
                  <a:lnTo>
                    <a:pt x="163" y="30"/>
                  </a:lnTo>
                  <a:lnTo>
                    <a:pt x="167" y="38"/>
                  </a:lnTo>
                  <a:lnTo>
                    <a:pt x="171" y="45"/>
                  </a:lnTo>
                  <a:lnTo>
                    <a:pt x="174" y="54"/>
                  </a:lnTo>
                  <a:lnTo>
                    <a:pt x="176" y="64"/>
                  </a:lnTo>
                  <a:lnTo>
                    <a:pt x="177" y="74"/>
                  </a:lnTo>
                  <a:lnTo>
                    <a:pt x="179" y="97"/>
                  </a:lnTo>
                  <a:lnTo>
                    <a:pt x="179" y="475"/>
                  </a:lnTo>
                  <a:lnTo>
                    <a:pt x="179" y="475"/>
                  </a:lnTo>
                  <a:lnTo>
                    <a:pt x="180" y="511"/>
                  </a:lnTo>
                  <a:lnTo>
                    <a:pt x="182" y="527"/>
                  </a:lnTo>
                  <a:lnTo>
                    <a:pt x="184" y="542"/>
                  </a:lnTo>
                  <a:lnTo>
                    <a:pt x="186" y="554"/>
                  </a:lnTo>
                  <a:lnTo>
                    <a:pt x="190" y="566"/>
                  </a:lnTo>
                  <a:lnTo>
                    <a:pt x="193" y="576"/>
                  </a:lnTo>
                  <a:lnTo>
                    <a:pt x="198" y="586"/>
                  </a:lnTo>
                  <a:lnTo>
                    <a:pt x="198" y="586"/>
                  </a:lnTo>
                  <a:lnTo>
                    <a:pt x="203" y="594"/>
                  </a:lnTo>
                  <a:lnTo>
                    <a:pt x="209" y="600"/>
                  </a:lnTo>
                  <a:lnTo>
                    <a:pt x="217" y="606"/>
                  </a:lnTo>
                  <a:lnTo>
                    <a:pt x="225" y="610"/>
                  </a:lnTo>
                  <a:lnTo>
                    <a:pt x="234" y="613"/>
                  </a:lnTo>
                  <a:lnTo>
                    <a:pt x="244" y="617"/>
                  </a:lnTo>
                  <a:lnTo>
                    <a:pt x="255" y="618"/>
                  </a:lnTo>
                  <a:lnTo>
                    <a:pt x="267" y="618"/>
                  </a:lnTo>
                  <a:lnTo>
                    <a:pt x="267" y="618"/>
                  </a:lnTo>
                  <a:lnTo>
                    <a:pt x="292" y="617"/>
                  </a:lnTo>
                  <a:lnTo>
                    <a:pt x="304" y="616"/>
                  </a:lnTo>
                  <a:lnTo>
                    <a:pt x="317" y="613"/>
                  </a:lnTo>
                  <a:lnTo>
                    <a:pt x="341" y="605"/>
                  </a:lnTo>
                  <a:lnTo>
                    <a:pt x="366" y="595"/>
                  </a:lnTo>
                  <a:lnTo>
                    <a:pt x="366" y="595"/>
                  </a:lnTo>
                  <a:lnTo>
                    <a:pt x="391" y="581"/>
                  </a:lnTo>
                  <a:lnTo>
                    <a:pt x="414" y="565"/>
                  </a:lnTo>
                  <a:lnTo>
                    <a:pt x="437" y="548"/>
                  </a:lnTo>
                  <a:lnTo>
                    <a:pt x="458" y="528"/>
                  </a:lnTo>
                  <a:lnTo>
                    <a:pt x="458" y="10"/>
                  </a:lnTo>
                  <a:lnTo>
                    <a:pt x="458" y="10"/>
                  </a:lnTo>
                  <a:lnTo>
                    <a:pt x="497" y="6"/>
                  </a:lnTo>
                  <a:lnTo>
                    <a:pt x="533" y="5"/>
                  </a:lnTo>
                  <a:lnTo>
                    <a:pt x="533" y="5"/>
                  </a:lnTo>
                  <a:lnTo>
                    <a:pt x="570" y="6"/>
                  </a:lnTo>
                  <a:lnTo>
                    <a:pt x="612" y="10"/>
                  </a:lnTo>
                  <a:lnTo>
                    <a:pt x="612" y="537"/>
                  </a:lnTo>
                  <a:lnTo>
                    <a:pt x="612" y="537"/>
                  </a:lnTo>
                  <a:lnTo>
                    <a:pt x="613" y="563"/>
                  </a:lnTo>
                  <a:lnTo>
                    <a:pt x="614" y="585"/>
                  </a:lnTo>
                  <a:lnTo>
                    <a:pt x="618" y="606"/>
                  </a:lnTo>
                  <a:lnTo>
                    <a:pt x="623" y="624"/>
                  </a:lnTo>
                  <a:lnTo>
                    <a:pt x="628" y="642"/>
                  </a:lnTo>
                  <a:lnTo>
                    <a:pt x="635" y="655"/>
                  </a:lnTo>
                  <a:lnTo>
                    <a:pt x="644" y="668"/>
                  </a:lnTo>
                  <a:lnTo>
                    <a:pt x="654" y="679"/>
                  </a:lnTo>
                  <a:lnTo>
                    <a:pt x="654" y="679"/>
                  </a:lnTo>
                  <a:lnTo>
                    <a:pt x="650" y="691"/>
                  </a:lnTo>
                  <a:lnTo>
                    <a:pt x="644" y="703"/>
                  </a:lnTo>
                  <a:lnTo>
                    <a:pt x="638" y="715"/>
                  </a:lnTo>
                  <a:lnTo>
                    <a:pt x="632" y="724"/>
                  </a:lnTo>
                  <a:lnTo>
                    <a:pt x="624" y="734"/>
                  </a:lnTo>
                  <a:lnTo>
                    <a:pt x="615" y="743"/>
                  </a:lnTo>
                  <a:lnTo>
                    <a:pt x="606" y="750"/>
                  </a:lnTo>
                  <a:lnTo>
                    <a:pt x="596" y="757"/>
                  </a:lnTo>
                  <a:lnTo>
                    <a:pt x="596" y="757"/>
                  </a:lnTo>
                  <a:lnTo>
                    <a:pt x="574" y="750"/>
                  </a:lnTo>
                  <a:lnTo>
                    <a:pt x="553" y="743"/>
                  </a:lnTo>
                  <a:lnTo>
                    <a:pt x="543" y="739"/>
                  </a:lnTo>
                  <a:lnTo>
                    <a:pt x="534" y="733"/>
                  </a:lnTo>
                  <a:lnTo>
                    <a:pt x="525" y="728"/>
                  </a:lnTo>
                  <a:lnTo>
                    <a:pt x="518" y="721"/>
                  </a:lnTo>
                  <a:lnTo>
                    <a:pt x="509" y="715"/>
                  </a:lnTo>
                  <a:lnTo>
                    <a:pt x="503" y="707"/>
                  </a:lnTo>
                  <a:lnTo>
                    <a:pt x="496" y="698"/>
                  </a:lnTo>
                  <a:lnTo>
                    <a:pt x="491" y="690"/>
                  </a:lnTo>
                  <a:lnTo>
                    <a:pt x="480" y="670"/>
                  </a:lnTo>
                  <a:lnTo>
                    <a:pt x="471" y="649"/>
                  </a:lnTo>
                  <a:lnTo>
                    <a:pt x="471" y="649"/>
                  </a:lnTo>
                  <a:lnTo>
                    <a:pt x="441" y="675"/>
                  </a:lnTo>
                  <a:lnTo>
                    <a:pt x="427" y="686"/>
                  </a:lnTo>
                  <a:lnTo>
                    <a:pt x="412" y="697"/>
                  </a:lnTo>
                  <a:lnTo>
                    <a:pt x="397" y="707"/>
                  </a:lnTo>
                  <a:lnTo>
                    <a:pt x="381" y="716"/>
                  </a:lnTo>
                  <a:lnTo>
                    <a:pt x="366" y="724"/>
                  </a:lnTo>
                  <a:lnTo>
                    <a:pt x="350" y="732"/>
                  </a:lnTo>
                  <a:lnTo>
                    <a:pt x="335" y="738"/>
                  </a:lnTo>
                  <a:lnTo>
                    <a:pt x="319" y="743"/>
                  </a:lnTo>
                  <a:lnTo>
                    <a:pt x="303" y="748"/>
                  </a:lnTo>
                  <a:lnTo>
                    <a:pt x="287" y="752"/>
                  </a:lnTo>
                  <a:lnTo>
                    <a:pt x="271" y="755"/>
                  </a:lnTo>
                  <a:lnTo>
                    <a:pt x="255" y="758"/>
                  </a:lnTo>
                  <a:lnTo>
                    <a:pt x="239" y="759"/>
                  </a:lnTo>
                  <a:lnTo>
                    <a:pt x="223" y="759"/>
                  </a:lnTo>
                  <a:lnTo>
                    <a:pt x="223" y="759"/>
                  </a:lnTo>
                  <a:lnTo>
                    <a:pt x="198" y="758"/>
                  </a:lnTo>
                  <a:lnTo>
                    <a:pt x="176" y="755"/>
                  </a:lnTo>
                  <a:lnTo>
                    <a:pt x="155" y="749"/>
                  </a:lnTo>
                  <a:lnTo>
                    <a:pt x="137" y="742"/>
                  </a:lnTo>
                  <a:lnTo>
                    <a:pt x="119" y="733"/>
                  </a:lnTo>
                  <a:lnTo>
                    <a:pt x="103" y="722"/>
                  </a:lnTo>
                  <a:lnTo>
                    <a:pt x="88" y="708"/>
                  </a:lnTo>
                  <a:lnTo>
                    <a:pt x="75" y="692"/>
                  </a:lnTo>
                  <a:lnTo>
                    <a:pt x="75" y="692"/>
                  </a:lnTo>
                  <a:lnTo>
                    <a:pt x="64" y="675"/>
                  </a:lnTo>
                  <a:lnTo>
                    <a:pt x="53" y="655"/>
                  </a:lnTo>
                  <a:lnTo>
                    <a:pt x="44" y="636"/>
                  </a:lnTo>
                  <a:lnTo>
                    <a:pt x="38" y="613"/>
                  </a:lnTo>
                  <a:lnTo>
                    <a:pt x="32" y="591"/>
                  </a:lnTo>
                  <a:lnTo>
                    <a:pt x="28" y="566"/>
                  </a:lnTo>
                  <a:lnTo>
                    <a:pt x="26" y="540"/>
                  </a:lnTo>
                  <a:lnTo>
                    <a:pt x="26" y="5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dirty="0"/>
            </a:p>
          </p:txBody>
        </p:sp>
        <p:sp>
          <p:nvSpPr>
            <p:cNvPr id="46" name="Freeform 208"/>
            <p:cNvSpPr>
              <a:spLocks/>
            </p:cNvSpPr>
            <p:nvPr/>
          </p:nvSpPr>
          <p:spPr bwMode="auto">
            <a:xfrm>
              <a:off x="4328570" y="3559017"/>
              <a:ext cx="253619" cy="1000838"/>
            </a:xfrm>
            <a:custGeom>
              <a:avLst/>
              <a:gdLst>
                <a:gd name="T0" fmla="*/ 210 w 279"/>
                <a:gd name="T1" fmla="*/ 978 h 1101"/>
                <a:gd name="T2" fmla="*/ 266 w 279"/>
                <a:gd name="T3" fmla="*/ 978 h 1101"/>
                <a:gd name="T4" fmla="*/ 266 w 279"/>
                <a:gd name="T5" fmla="*/ 978 h 1101"/>
                <a:gd name="T6" fmla="*/ 272 w 279"/>
                <a:gd name="T7" fmla="*/ 997 h 1101"/>
                <a:gd name="T8" fmla="*/ 276 w 279"/>
                <a:gd name="T9" fmla="*/ 1014 h 1101"/>
                <a:gd name="T10" fmla="*/ 278 w 279"/>
                <a:gd name="T11" fmla="*/ 1030 h 1101"/>
                <a:gd name="T12" fmla="*/ 279 w 279"/>
                <a:gd name="T13" fmla="*/ 1045 h 1101"/>
                <a:gd name="T14" fmla="*/ 279 w 279"/>
                <a:gd name="T15" fmla="*/ 1045 h 1101"/>
                <a:gd name="T16" fmla="*/ 279 w 279"/>
                <a:gd name="T17" fmla="*/ 1059 h 1101"/>
                <a:gd name="T18" fmla="*/ 278 w 279"/>
                <a:gd name="T19" fmla="*/ 1071 h 1101"/>
                <a:gd name="T20" fmla="*/ 274 w 279"/>
                <a:gd name="T21" fmla="*/ 1091 h 1101"/>
                <a:gd name="T22" fmla="*/ 274 w 279"/>
                <a:gd name="T23" fmla="*/ 1091 h 1101"/>
                <a:gd name="T24" fmla="*/ 243 w 279"/>
                <a:gd name="T25" fmla="*/ 1096 h 1101"/>
                <a:gd name="T26" fmla="*/ 213 w 279"/>
                <a:gd name="T27" fmla="*/ 1098 h 1101"/>
                <a:gd name="T28" fmla="*/ 181 w 279"/>
                <a:gd name="T29" fmla="*/ 1101 h 1101"/>
                <a:gd name="T30" fmla="*/ 147 w 279"/>
                <a:gd name="T31" fmla="*/ 1101 h 1101"/>
                <a:gd name="T32" fmla="*/ 147 w 279"/>
                <a:gd name="T33" fmla="*/ 1101 h 1101"/>
                <a:gd name="T34" fmla="*/ 130 w 279"/>
                <a:gd name="T35" fmla="*/ 1101 h 1101"/>
                <a:gd name="T36" fmla="*/ 113 w 279"/>
                <a:gd name="T37" fmla="*/ 1099 h 1101"/>
                <a:gd name="T38" fmla="*/ 98 w 279"/>
                <a:gd name="T39" fmla="*/ 1096 h 1101"/>
                <a:gd name="T40" fmla="*/ 83 w 279"/>
                <a:gd name="T41" fmla="*/ 1092 h 1101"/>
                <a:gd name="T42" fmla="*/ 71 w 279"/>
                <a:gd name="T43" fmla="*/ 1086 h 1101"/>
                <a:gd name="T44" fmla="*/ 58 w 279"/>
                <a:gd name="T45" fmla="*/ 1080 h 1101"/>
                <a:gd name="T46" fmla="*/ 47 w 279"/>
                <a:gd name="T47" fmla="*/ 1072 h 1101"/>
                <a:gd name="T48" fmla="*/ 37 w 279"/>
                <a:gd name="T49" fmla="*/ 1062 h 1101"/>
                <a:gd name="T50" fmla="*/ 29 w 279"/>
                <a:gd name="T51" fmla="*/ 1052 h 1101"/>
                <a:gd name="T52" fmla="*/ 21 w 279"/>
                <a:gd name="T53" fmla="*/ 1041 h 1101"/>
                <a:gd name="T54" fmla="*/ 15 w 279"/>
                <a:gd name="T55" fmla="*/ 1029 h 1101"/>
                <a:gd name="T56" fmla="*/ 10 w 279"/>
                <a:gd name="T57" fmla="*/ 1014 h 1101"/>
                <a:gd name="T58" fmla="*/ 5 w 279"/>
                <a:gd name="T59" fmla="*/ 999 h 1101"/>
                <a:gd name="T60" fmla="*/ 3 w 279"/>
                <a:gd name="T61" fmla="*/ 983 h 1101"/>
                <a:gd name="T62" fmla="*/ 2 w 279"/>
                <a:gd name="T63" fmla="*/ 966 h 1101"/>
                <a:gd name="T64" fmla="*/ 0 w 279"/>
                <a:gd name="T65" fmla="*/ 947 h 1101"/>
                <a:gd name="T66" fmla="*/ 0 w 279"/>
                <a:gd name="T67" fmla="*/ 9 h 1101"/>
                <a:gd name="T68" fmla="*/ 11 w 279"/>
                <a:gd name="T69" fmla="*/ 0 h 1101"/>
                <a:gd name="T70" fmla="*/ 69 w 279"/>
                <a:gd name="T71" fmla="*/ 0 h 1101"/>
                <a:gd name="T72" fmla="*/ 69 w 279"/>
                <a:gd name="T73" fmla="*/ 0 h 1101"/>
                <a:gd name="T74" fmla="*/ 81 w 279"/>
                <a:gd name="T75" fmla="*/ 0 h 1101"/>
                <a:gd name="T76" fmla="*/ 90 w 279"/>
                <a:gd name="T77" fmla="*/ 2 h 1101"/>
                <a:gd name="T78" fmla="*/ 100 w 279"/>
                <a:gd name="T79" fmla="*/ 3 h 1101"/>
                <a:gd name="T80" fmla="*/ 109 w 279"/>
                <a:gd name="T81" fmla="*/ 5 h 1101"/>
                <a:gd name="T82" fmla="*/ 116 w 279"/>
                <a:gd name="T83" fmla="*/ 9 h 1101"/>
                <a:gd name="T84" fmla="*/ 123 w 279"/>
                <a:gd name="T85" fmla="*/ 13 h 1101"/>
                <a:gd name="T86" fmla="*/ 129 w 279"/>
                <a:gd name="T87" fmla="*/ 18 h 1101"/>
                <a:gd name="T88" fmla="*/ 134 w 279"/>
                <a:gd name="T89" fmla="*/ 23 h 1101"/>
                <a:gd name="T90" fmla="*/ 134 w 279"/>
                <a:gd name="T91" fmla="*/ 23 h 1101"/>
                <a:gd name="T92" fmla="*/ 139 w 279"/>
                <a:gd name="T93" fmla="*/ 29 h 1101"/>
                <a:gd name="T94" fmla="*/ 142 w 279"/>
                <a:gd name="T95" fmla="*/ 36 h 1101"/>
                <a:gd name="T96" fmla="*/ 146 w 279"/>
                <a:gd name="T97" fmla="*/ 45 h 1101"/>
                <a:gd name="T98" fmla="*/ 148 w 279"/>
                <a:gd name="T99" fmla="*/ 54 h 1101"/>
                <a:gd name="T100" fmla="*/ 151 w 279"/>
                <a:gd name="T101" fmla="*/ 75 h 1101"/>
                <a:gd name="T102" fmla="*/ 152 w 279"/>
                <a:gd name="T103" fmla="*/ 98 h 1101"/>
                <a:gd name="T104" fmla="*/ 152 w 279"/>
                <a:gd name="T105" fmla="*/ 912 h 1101"/>
                <a:gd name="T106" fmla="*/ 152 w 279"/>
                <a:gd name="T107" fmla="*/ 912 h 1101"/>
                <a:gd name="T108" fmla="*/ 153 w 279"/>
                <a:gd name="T109" fmla="*/ 928 h 1101"/>
                <a:gd name="T110" fmla="*/ 156 w 279"/>
                <a:gd name="T111" fmla="*/ 941 h 1101"/>
                <a:gd name="T112" fmla="*/ 161 w 279"/>
                <a:gd name="T113" fmla="*/ 952 h 1101"/>
                <a:gd name="T114" fmla="*/ 167 w 279"/>
                <a:gd name="T115" fmla="*/ 961 h 1101"/>
                <a:gd name="T116" fmla="*/ 176 w 279"/>
                <a:gd name="T117" fmla="*/ 968 h 1101"/>
                <a:gd name="T118" fmla="*/ 185 w 279"/>
                <a:gd name="T119" fmla="*/ 975 h 1101"/>
                <a:gd name="T120" fmla="*/ 197 w 279"/>
                <a:gd name="T121" fmla="*/ 977 h 1101"/>
                <a:gd name="T122" fmla="*/ 210 w 279"/>
                <a:gd name="T123" fmla="*/ 978 h 1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79" h="1101">
                  <a:moveTo>
                    <a:pt x="210" y="978"/>
                  </a:moveTo>
                  <a:lnTo>
                    <a:pt x="266" y="978"/>
                  </a:lnTo>
                  <a:lnTo>
                    <a:pt x="266" y="978"/>
                  </a:lnTo>
                  <a:lnTo>
                    <a:pt x="272" y="997"/>
                  </a:lnTo>
                  <a:lnTo>
                    <a:pt x="276" y="1014"/>
                  </a:lnTo>
                  <a:lnTo>
                    <a:pt x="278" y="1030"/>
                  </a:lnTo>
                  <a:lnTo>
                    <a:pt x="279" y="1045"/>
                  </a:lnTo>
                  <a:lnTo>
                    <a:pt x="279" y="1045"/>
                  </a:lnTo>
                  <a:lnTo>
                    <a:pt x="279" y="1059"/>
                  </a:lnTo>
                  <a:lnTo>
                    <a:pt x="278" y="1071"/>
                  </a:lnTo>
                  <a:lnTo>
                    <a:pt x="274" y="1091"/>
                  </a:lnTo>
                  <a:lnTo>
                    <a:pt x="274" y="1091"/>
                  </a:lnTo>
                  <a:lnTo>
                    <a:pt x="243" y="1096"/>
                  </a:lnTo>
                  <a:lnTo>
                    <a:pt x="213" y="1098"/>
                  </a:lnTo>
                  <a:lnTo>
                    <a:pt x="181" y="1101"/>
                  </a:lnTo>
                  <a:lnTo>
                    <a:pt x="147" y="1101"/>
                  </a:lnTo>
                  <a:lnTo>
                    <a:pt x="147" y="1101"/>
                  </a:lnTo>
                  <a:lnTo>
                    <a:pt x="130" y="1101"/>
                  </a:lnTo>
                  <a:lnTo>
                    <a:pt x="113" y="1099"/>
                  </a:lnTo>
                  <a:lnTo>
                    <a:pt x="98" y="1096"/>
                  </a:lnTo>
                  <a:lnTo>
                    <a:pt x="83" y="1092"/>
                  </a:lnTo>
                  <a:lnTo>
                    <a:pt x="71" y="1086"/>
                  </a:lnTo>
                  <a:lnTo>
                    <a:pt x="58" y="1080"/>
                  </a:lnTo>
                  <a:lnTo>
                    <a:pt x="47" y="1072"/>
                  </a:lnTo>
                  <a:lnTo>
                    <a:pt x="37" y="1062"/>
                  </a:lnTo>
                  <a:lnTo>
                    <a:pt x="29" y="1052"/>
                  </a:lnTo>
                  <a:lnTo>
                    <a:pt x="21" y="1041"/>
                  </a:lnTo>
                  <a:lnTo>
                    <a:pt x="15" y="1029"/>
                  </a:lnTo>
                  <a:lnTo>
                    <a:pt x="10" y="1014"/>
                  </a:lnTo>
                  <a:lnTo>
                    <a:pt x="5" y="999"/>
                  </a:lnTo>
                  <a:lnTo>
                    <a:pt x="3" y="983"/>
                  </a:lnTo>
                  <a:lnTo>
                    <a:pt x="2" y="966"/>
                  </a:lnTo>
                  <a:lnTo>
                    <a:pt x="0" y="947"/>
                  </a:lnTo>
                  <a:lnTo>
                    <a:pt x="0" y="9"/>
                  </a:lnTo>
                  <a:lnTo>
                    <a:pt x="11" y="0"/>
                  </a:lnTo>
                  <a:lnTo>
                    <a:pt x="69" y="0"/>
                  </a:lnTo>
                  <a:lnTo>
                    <a:pt x="69" y="0"/>
                  </a:lnTo>
                  <a:lnTo>
                    <a:pt x="81" y="0"/>
                  </a:lnTo>
                  <a:lnTo>
                    <a:pt x="90" y="2"/>
                  </a:lnTo>
                  <a:lnTo>
                    <a:pt x="100" y="3"/>
                  </a:lnTo>
                  <a:lnTo>
                    <a:pt x="109" y="5"/>
                  </a:lnTo>
                  <a:lnTo>
                    <a:pt x="116" y="9"/>
                  </a:lnTo>
                  <a:lnTo>
                    <a:pt x="123" y="13"/>
                  </a:lnTo>
                  <a:lnTo>
                    <a:pt x="129" y="18"/>
                  </a:lnTo>
                  <a:lnTo>
                    <a:pt x="134" y="23"/>
                  </a:lnTo>
                  <a:lnTo>
                    <a:pt x="134" y="23"/>
                  </a:lnTo>
                  <a:lnTo>
                    <a:pt x="139" y="29"/>
                  </a:lnTo>
                  <a:lnTo>
                    <a:pt x="142" y="36"/>
                  </a:lnTo>
                  <a:lnTo>
                    <a:pt x="146" y="45"/>
                  </a:lnTo>
                  <a:lnTo>
                    <a:pt x="148" y="54"/>
                  </a:lnTo>
                  <a:lnTo>
                    <a:pt x="151" y="75"/>
                  </a:lnTo>
                  <a:lnTo>
                    <a:pt x="152" y="98"/>
                  </a:lnTo>
                  <a:lnTo>
                    <a:pt x="152" y="912"/>
                  </a:lnTo>
                  <a:lnTo>
                    <a:pt x="152" y="912"/>
                  </a:lnTo>
                  <a:lnTo>
                    <a:pt x="153" y="928"/>
                  </a:lnTo>
                  <a:lnTo>
                    <a:pt x="156" y="941"/>
                  </a:lnTo>
                  <a:lnTo>
                    <a:pt x="161" y="952"/>
                  </a:lnTo>
                  <a:lnTo>
                    <a:pt x="167" y="961"/>
                  </a:lnTo>
                  <a:lnTo>
                    <a:pt x="176" y="968"/>
                  </a:lnTo>
                  <a:lnTo>
                    <a:pt x="185" y="975"/>
                  </a:lnTo>
                  <a:lnTo>
                    <a:pt x="197" y="977"/>
                  </a:lnTo>
                  <a:lnTo>
                    <a:pt x="210" y="9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dirty="0"/>
            </a:p>
          </p:txBody>
        </p:sp>
        <p:sp>
          <p:nvSpPr>
            <p:cNvPr id="47" name="Freeform 210"/>
            <p:cNvSpPr>
              <a:spLocks/>
            </p:cNvSpPr>
            <p:nvPr/>
          </p:nvSpPr>
          <p:spPr bwMode="auto">
            <a:xfrm>
              <a:off x="4665819" y="3868086"/>
              <a:ext cx="499965" cy="703587"/>
            </a:xfrm>
            <a:custGeom>
              <a:avLst/>
              <a:gdLst>
                <a:gd name="T0" fmla="*/ 2 w 550"/>
                <a:gd name="T1" fmla="*/ 686 h 774"/>
                <a:gd name="T2" fmla="*/ 17 w 550"/>
                <a:gd name="T3" fmla="*/ 642 h 774"/>
                <a:gd name="T4" fmla="*/ 33 w 550"/>
                <a:gd name="T5" fmla="*/ 614 h 774"/>
                <a:gd name="T6" fmla="*/ 50 w 550"/>
                <a:gd name="T7" fmla="*/ 591 h 774"/>
                <a:gd name="T8" fmla="*/ 133 w 550"/>
                <a:gd name="T9" fmla="*/ 632 h 774"/>
                <a:gd name="T10" fmla="*/ 203 w 550"/>
                <a:gd name="T11" fmla="*/ 653 h 774"/>
                <a:gd name="T12" fmla="*/ 243 w 550"/>
                <a:gd name="T13" fmla="*/ 658 h 774"/>
                <a:gd name="T14" fmla="*/ 295 w 550"/>
                <a:gd name="T15" fmla="*/ 654 h 774"/>
                <a:gd name="T16" fmla="*/ 334 w 550"/>
                <a:gd name="T17" fmla="*/ 643 h 774"/>
                <a:gd name="T18" fmla="*/ 355 w 550"/>
                <a:gd name="T19" fmla="*/ 632 h 774"/>
                <a:gd name="T20" fmla="*/ 377 w 550"/>
                <a:gd name="T21" fmla="*/ 611 h 774"/>
                <a:gd name="T22" fmla="*/ 390 w 550"/>
                <a:gd name="T23" fmla="*/ 585 h 774"/>
                <a:gd name="T24" fmla="*/ 392 w 550"/>
                <a:gd name="T25" fmla="*/ 565 h 774"/>
                <a:gd name="T26" fmla="*/ 388 w 550"/>
                <a:gd name="T27" fmla="*/ 542 h 774"/>
                <a:gd name="T28" fmla="*/ 379 w 550"/>
                <a:gd name="T29" fmla="*/ 521 h 774"/>
                <a:gd name="T30" fmla="*/ 339 w 550"/>
                <a:gd name="T31" fmla="*/ 484 h 774"/>
                <a:gd name="T32" fmla="*/ 214 w 550"/>
                <a:gd name="T33" fmla="*/ 433 h 774"/>
                <a:gd name="T34" fmla="*/ 171 w 550"/>
                <a:gd name="T35" fmla="*/ 414 h 774"/>
                <a:gd name="T36" fmla="*/ 116 w 550"/>
                <a:gd name="T37" fmla="*/ 382 h 774"/>
                <a:gd name="T38" fmla="*/ 74 w 550"/>
                <a:gd name="T39" fmla="*/ 344 h 774"/>
                <a:gd name="T40" fmla="*/ 44 w 550"/>
                <a:gd name="T41" fmla="*/ 301 h 774"/>
                <a:gd name="T42" fmla="*/ 29 w 550"/>
                <a:gd name="T43" fmla="*/ 254 h 774"/>
                <a:gd name="T44" fmla="*/ 27 w 550"/>
                <a:gd name="T45" fmla="*/ 220 h 774"/>
                <a:gd name="T46" fmla="*/ 37 w 550"/>
                <a:gd name="T47" fmla="*/ 149 h 774"/>
                <a:gd name="T48" fmla="*/ 67 w 550"/>
                <a:gd name="T49" fmla="*/ 91 h 774"/>
                <a:gd name="T50" fmla="*/ 100 w 550"/>
                <a:gd name="T51" fmla="*/ 58 h 774"/>
                <a:gd name="T52" fmla="*/ 161 w 550"/>
                <a:gd name="T53" fmla="*/ 22 h 774"/>
                <a:gd name="T54" fmla="*/ 235 w 550"/>
                <a:gd name="T55" fmla="*/ 4 h 774"/>
                <a:gd name="T56" fmla="*/ 292 w 550"/>
                <a:gd name="T57" fmla="*/ 0 h 774"/>
                <a:gd name="T58" fmla="*/ 382 w 550"/>
                <a:gd name="T59" fmla="*/ 7 h 774"/>
                <a:gd name="T60" fmla="*/ 472 w 550"/>
                <a:gd name="T61" fmla="*/ 30 h 774"/>
                <a:gd name="T62" fmla="*/ 532 w 550"/>
                <a:gd name="T63" fmla="*/ 53 h 774"/>
                <a:gd name="T64" fmla="*/ 525 w 550"/>
                <a:gd name="T65" fmla="*/ 99 h 774"/>
                <a:gd name="T66" fmla="*/ 513 w 550"/>
                <a:gd name="T67" fmla="*/ 131 h 774"/>
                <a:gd name="T68" fmla="*/ 486 w 550"/>
                <a:gd name="T69" fmla="*/ 165 h 774"/>
                <a:gd name="T70" fmla="*/ 434 w 550"/>
                <a:gd name="T71" fmla="*/ 144 h 774"/>
                <a:gd name="T72" fmla="*/ 359 w 550"/>
                <a:gd name="T73" fmla="*/ 123 h 774"/>
                <a:gd name="T74" fmla="*/ 287 w 550"/>
                <a:gd name="T75" fmla="*/ 116 h 774"/>
                <a:gd name="T76" fmla="*/ 264 w 550"/>
                <a:gd name="T77" fmla="*/ 119 h 774"/>
                <a:gd name="T78" fmla="*/ 234 w 550"/>
                <a:gd name="T79" fmla="*/ 126 h 774"/>
                <a:gd name="T80" fmla="*/ 209 w 550"/>
                <a:gd name="T81" fmla="*/ 141 h 774"/>
                <a:gd name="T82" fmla="*/ 196 w 550"/>
                <a:gd name="T83" fmla="*/ 153 h 774"/>
                <a:gd name="T84" fmla="*/ 184 w 550"/>
                <a:gd name="T85" fmla="*/ 175 h 774"/>
                <a:gd name="T86" fmla="*/ 180 w 550"/>
                <a:gd name="T87" fmla="*/ 201 h 774"/>
                <a:gd name="T88" fmla="*/ 184 w 550"/>
                <a:gd name="T89" fmla="*/ 226 h 774"/>
                <a:gd name="T90" fmla="*/ 192 w 550"/>
                <a:gd name="T91" fmla="*/ 246 h 774"/>
                <a:gd name="T92" fmla="*/ 201 w 550"/>
                <a:gd name="T93" fmla="*/ 256 h 774"/>
                <a:gd name="T94" fmla="*/ 249 w 550"/>
                <a:gd name="T95" fmla="*/ 285 h 774"/>
                <a:gd name="T96" fmla="*/ 361 w 550"/>
                <a:gd name="T97" fmla="*/ 328 h 774"/>
                <a:gd name="T98" fmla="*/ 425 w 550"/>
                <a:gd name="T99" fmla="*/ 358 h 774"/>
                <a:gd name="T100" fmla="*/ 476 w 550"/>
                <a:gd name="T101" fmla="*/ 394 h 774"/>
                <a:gd name="T102" fmla="*/ 513 w 550"/>
                <a:gd name="T103" fmla="*/ 435 h 774"/>
                <a:gd name="T104" fmla="*/ 538 w 550"/>
                <a:gd name="T105" fmla="*/ 482 h 774"/>
                <a:gd name="T106" fmla="*/ 549 w 550"/>
                <a:gd name="T107" fmla="*/ 533 h 774"/>
                <a:gd name="T108" fmla="*/ 549 w 550"/>
                <a:gd name="T109" fmla="*/ 577 h 774"/>
                <a:gd name="T110" fmla="*/ 530 w 550"/>
                <a:gd name="T111" fmla="*/ 645 h 774"/>
                <a:gd name="T112" fmla="*/ 488 w 550"/>
                <a:gd name="T113" fmla="*/ 699 h 774"/>
                <a:gd name="T114" fmla="*/ 450 w 550"/>
                <a:gd name="T115" fmla="*/ 728 h 774"/>
                <a:gd name="T116" fmla="*/ 377 w 550"/>
                <a:gd name="T117" fmla="*/ 759 h 774"/>
                <a:gd name="T118" fmla="*/ 288 w 550"/>
                <a:gd name="T119" fmla="*/ 774 h 774"/>
                <a:gd name="T120" fmla="*/ 223 w 550"/>
                <a:gd name="T121" fmla="*/ 773 h 774"/>
                <a:gd name="T122" fmla="*/ 127 w 550"/>
                <a:gd name="T123" fmla="*/ 756 h 774"/>
                <a:gd name="T124" fmla="*/ 32 w 550"/>
                <a:gd name="T125" fmla="*/ 716 h 7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50" h="774">
                  <a:moveTo>
                    <a:pt x="0" y="699"/>
                  </a:moveTo>
                  <a:lnTo>
                    <a:pt x="0" y="699"/>
                  </a:lnTo>
                  <a:lnTo>
                    <a:pt x="2" y="686"/>
                  </a:lnTo>
                  <a:lnTo>
                    <a:pt x="5" y="673"/>
                  </a:lnTo>
                  <a:lnTo>
                    <a:pt x="9" y="658"/>
                  </a:lnTo>
                  <a:lnTo>
                    <a:pt x="17" y="642"/>
                  </a:lnTo>
                  <a:lnTo>
                    <a:pt x="17" y="642"/>
                  </a:lnTo>
                  <a:lnTo>
                    <a:pt x="24" y="627"/>
                  </a:lnTo>
                  <a:lnTo>
                    <a:pt x="33" y="614"/>
                  </a:lnTo>
                  <a:lnTo>
                    <a:pt x="42" y="603"/>
                  </a:lnTo>
                  <a:lnTo>
                    <a:pt x="50" y="591"/>
                  </a:lnTo>
                  <a:lnTo>
                    <a:pt x="50" y="591"/>
                  </a:lnTo>
                  <a:lnTo>
                    <a:pt x="80" y="607"/>
                  </a:lnTo>
                  <a:lnTo>
                    <a:pt x="107" y="621"/>
                  </a:lnTo>
                  <a:lnTo>
                    <a:pt x="133" y="632"/>
                  </a:lnTo>
                  <a:lnTo>
                    <a:pt x="158" y="641"/>
                  </a:lnTo>
                  <a:lnTo>
                    <a:pt x="181" y="648"/>
                  </a:lnTo>
                  <a:lnTo>
                    <a:pt x="203" y="653"/>
                  </a:lnTo>
                  <a:lnTo>
                    <a:pt x="224" y="657"/>
                  </a:lnTo>
                  <a:lnTo>
                    <a:pt x="243" y="658"/>
                  </a:lnTo>
                  <a:lnTo>
                    <a:pt x="243" y="658"/>
                  </a:lnTo>
                  <a:lnTo>
                    <a:pt x="261" y="657"/>
                  </a:lnTo>
                  <a:lnTo>
                    <a:pt x="279" y="656"/>
                  </a:lnTo>
                  <a:lnTo>
                    <a:pt x="295" y="654"/>
                  </a:lnTo>
                  <a:lnTo>
                    <a:pt x="309" y="651"/>
                  </a:lnTo>
                  <a:lnTo>
                    <a:pt x="322" y="648"/>
                  </a:lnTo>
                  <a:lnTo>
                    <a:pt x="334" y="643"/>
                  </a:lnTo>
                  <a:lnTo>
                    <a:pt x="345" y="638"/>
                  </a:lnTo>
                  <a:lnTo>
                    <a:pt x="355" y="632"/>
                  </a:lnTo>
                  <a:lnTo>
                    <a:pt x="355" y="632"/>
                  </a:lnTo>
                  <a:lnTo>
                    <a:pt x="364" y="626"/>
                  </a:lnTo>
                  <a:lnTo>
                    <a:pt x="371" y="619"/>
                  </a:lnTo>
                  <a:lnTo>
                    <a:pt x="377" y="611"/>
                  </a:lnTo>
                  <a:lnTo>
                    <a:pt x="382" y="603"/>
                  </a:lnTo>
                  <a:lnTo>
                    <a:pt x="387" y="594"/>
                  </a:lnTo>
                  <a:lnTo>
                    <a:pt x="390" y="585"/>
                  </a:lnTo>
                  <a:lnTo>
                    <a:pt x="391" y="575"/>
                  </a:lnTo>
                  <a:lnTo>
                    <a:pt x="392" y="565"/>
                  </a:lnTo>
                  <a:lnTo>
                    <a:pt x="392" y="565"/>
                  </a:lnTo>
                  <a:lnTo>
                    <a:pt x="392" y="558"/>
                  </a:lnTo>
                  <a:lnTo>
                    <a:pt x="391" y="549"/>
                  </a:lnTo>
                  <a:lnTo>
                    <a:pt x="388" y="542"/>
                  </a:lnTo>
                  <a:lnTo>
                    <a:pt x="386" y="535"/>
                  </a:lnTo>
                  <a:lnTo>
                    <a:pt x="382" y="527"/>
                  </a:lnTo>
                  <a:lnTo>
                    <a:pt x="379" y="521"/>
                  </a:lnTo>
                  <a:lnTo>
                    <a:pt x="369" y="507"/>
                  </a:lnTo>
                  <a:lnTo>
                    <a:pt x="355" y="495"/>
                  </a:lnTo>
                  <a:lnTo>
                    <a:pt x="339" y="484"/>
                  </a:lnTo>
                  <a:lnTo>
                    <a:pt x="320" y="474"/>
                  </a:lnTo>
                  <a:lnTo>
                    <a:pt x="298" y="464"/>
                  </a:lnTo>
                  <a:lnTo>
                    <a:pt x="214" y="433"/>
                  </a:lnTo>
                  <a:lnTo>
                    <a:pt x="214" y="433"/>
                  </a:lnTo>
                  <a:lnTo>
                    <a:pt x="192" y="423"/>
                  </a:lnTo>
                  <a:lnTo>
                    <a:pt x="171" y="414"/>
                  </a:lnTo>
                  <a:lnTo>
                    <a:pt x="150" y="404"/>
                  </a:lnTo>
                  <a:lnTo>
                    <a:pt x="133" y="393"/>
                  </a:lnTo>
                  <a:lnTo>
                    <a:pt x="116" y="382"/>
                  </a:lnTo>
                  <a:lnTo>
                    <a:pt x="100" y="369"/>
                  </a:lnTo>
                  <a:lnTo>
                    <a:pt x="86" y="357"/>
                  </a:lnTo>
                  <a:lnTo>
                    <a:pt x="74" y="344"/>
                  </a:lnTo>
                  <a:lnTo>
                    <a:pt x="63" y="331"/>
                  </a:lnTo>
                  <a:lnTo>
                    <a:pt x="53" y="316"/>
                  </a:lnTo>
                  <a:lnTo>
                    <a:pt x="44" y="301"/>
                  </a:lnTo>
                  <a:lnTo>
                    <a:pt x="38" y="286"/>
                  </a:lnTo>
                  <a:lnTo>
                    <a:pt x="33" y="270"/>
                  </a:lnTo>
                  <a:lnTo>
                    <a:pt x="29" y="254"/>
                  </a:lnTo>
                  <a:lnTo>
                    <a:pt x="27" y="237"/>
                  </a:lnTo>
                  <a:lnTo>
                    <a:pt x="27" y="220"/>
                  </a:lnTo>
                  <a:lnTo>
                    <a:pt x="27" y="220"/>
                  </a:lnTo>
                  <a:lnTo>
                    <a:pt x="27" y="195"/>
                  </a:lnTo>
                  <a:lnTo>
                    <a:pt x="30" y="172"/>
                  </a:lnTo>
                  <a:lnTo>
                    <a:pt x="37" y="149"/>
                  </a:lnTo>
                  <a:lnTo>
                    <a:pt x="44" y="128"/>
                  </a:lnTo>
                  <a:lnTo>
                    <a:pt x="55" y="109"/>
                  </a:lnTo>
                  <a:lnTo>
                    <a:pt x="67" y="91"/>
                  </a:lnTo>
                  <a:lnTo>
                    <a:pt x="82" y="74"/>
                  </a:lnTo>
                  <a:lnTo>
                    <a:pt x="100" y="58"/>
                  </a:lnTo>
                  <a:lnTo>
                    <a:pt x="100" y="58"/>
                  </a:lnTo>
                  <a:lnTo>
                    <a:pt x="119" y="44"/>
                  </a:lnTo>
                  <a:lnTo>
                    <a:pt x="139" y="32"/>
                  </a:lnTo>
                  <a:lnTo>
                    <a:pt x="161" y="22"/>
                  </a:lnTo>
                  <a:lnTo>
                    <a:pt x="185" y="14"/>
                  </a:lnTo>
                  <a:lnTo>
                    <a:pt x="209" y="7"/>
                  </a:lnTo>
                  <a:lnTo>
                    <a:pt x="235" y="4"/>
                  </a:lnTo>
                  <a:lnTo>
                    <a:pt x="264" y="0"/>
                  </a:lnTo>
                  <a:lnTo>
                    <a:pt x="292" y="0"/>
                  </a:lnTo>
                  <a:lnTo>
                    <a:pt x="292" y="0"/>
                  </a:lnTo>
                  <a:lnTo>
                    <a:pt x="322" y="0"/>
                  </a:lnTo>
                  <a:lnTo>
                    <a:pt x="353" y="2"/>
                  </a:lnTo>
                  <a:lnTo>
                    <a:pt x="382" y="7"/>
                  </a:lnTo>
                  <a:lnTo>
                    <a:pt x="413" y="12"/>
                  </a:lnTo>
                  <a:lnTo>
                    <a:pt x="443" y="20"/>
                  </a:lnTo>
                  <a:lnTo>
                    <a:pt x="472" y="30"/>
                  </a:lnTo>
                  <a:lnTo>
                    <a:pt x="502" y="41"/>
                  </a:lnTo>
                  <a:lnTo>
                    <a:pt x="532" y="53"/>
                  </a:lnTo>
                  <a:lnTo>
                    <a:pt x="532" y="53"/>
                  </a:lnTo>
                  <a:lnTo>
                    <a:pt x="532" y="68"/>
                  </a:lnTo>
                  <a:lnTo>
                    <a:pt x="529" y="84"/>
                  </a:lnTo>
                  <a:lnTo>
                    <a:pt x="525" y="99"/>
                  </a:lnTo>
                  <a:lnTo>
                    <a:pt x="519" y="116"/>
                  </a:lnTo>
                  <a:lnTo>
                    <a:pt x="519" y="116"/>
                  </a:lnTo>
                  <a:lnTo>
                    <a:pt x="513" y="131"/>
                  </a:lnTo>
                  <a:lnTo>
                    <a:pt x="504" y="144"/>
                  </a:lnTo>
                  <a:lnTo>
                    <a:pt x="496" y="157"/>
                  </a:lnTo>
                  <a:lnTo>
                    <a:pt x="486" y="165"/>
                  </a:lnTo>
                  <a:lnTo>
                    <a:pt x="486" y="165"/>
                  </a:lnTo>
                  <a:lnTo>
                    <a:pt x="460" y="154"/>
                  </a:lnTo>
                  <a:lnTo>
                    <a:pt x="434" y="144"/>
                  </a:lnTo>
                  <a:lnTo>
                    <a:pt x="408" y="136"/>
                  </a:lnTo>
                  <a:lnTo>
                    <a:pt x="383" y="128"/>
                  </a:lnTo>
                  <a:lnTo>
                    <a:pt x="359" y="123"/>
                  </a:lnTo>
                  <a:lnTo>
                    <a:pt x="334" y="120"/>
                  </a:lnTo>
                  <a:lnTo>
                    <a:pt x="311" y="117"/>
                  </a:lnTo>
                  <a:lnTo>
                    <a:pt x="287" y="116"/>
                  </a:lnTo>
                  <a:lnTo>
                    <a:pt x="287" y="116"/>
                  </a:lnTo>
                  <a:lnTo>
                    <a:pt x="275" y="117"/>
                  </a:lnTo>
                  <a:lnTo>
                    <a:pt x="264" y="119"/>
                  </a:lnTo>
                  <a:lnTo>
                    <a:pt x="253" y="120"/>
                  </a:lnTo>
                  <a:lnTo>
                    <a:pt x="243" y="122"/>
                  </a:lnTo>
                  <a:lnTo>
                    <a:pt x="234" y="126"/>
                  </a:lnTo>
                  <a:lnTo>
                    <a:pt x="224" y="130"/>
                  </a:lnTo>
                  <a:lnTo>
                    <a:pt x="217" y="135"/>
                  </a:lnTo>
                  <a:lnTo>
                    <a:pt x="209" y="141"/>
                  </a:lnTo>
                  <a:lnTo>
                    <a:pt x="209" y="141"/>
                  </a:lnTo>
                  <a:lnTo>
                    <a:pt x="202" y="147"/>
                  </a:lnTo>
                  <a:lnTo>
                    <a:pt x="196" y="153"/>
                  </a:lnTo>
                  <a:lnTo>
                    <a:pt x="191" y="160"/>
                  </a:lnTo>
                  <a:lnTo>
                    <a:pt x="187" y="168"/>
                  </a:lnTo>
                  <a:lnTo>
                    <a:pt x="184" y="175"/>
                  </a:lnTo>
                  <a:lnTo>
                    <a:pt x="182" y="184"/>
                  </a:lnTo>
                  <a:lnTo>
                    <a:pt x="181" y="191"/>
                  </a:lnTo>
                  <a:lnTo>
                    <a:pt x="180" y="201"/>
                  </a:lnTo>
                  <a:lnTo>
                    <a:pt x="180" y="201"/>
                  </a:lnTo>
                  <a:lnTo>
                    <a:pt x="181" y="217"/>
                  </a:lnTo>
                  <a:lnTo>
                    <a:pt x="184" y="226"/>
                  </a:lnTo>
                  <a:lnTo>
                    <a:pt x="185" y="233"/>
                  </a:lnTo>
                  <a:lnTo>
                    <a:pt x="188" y="240"/>
                  </a:lnTo>
                  <a:lnTo>
                    <a:pt x="192" y="246"/>
                  </a:lnTo>
                  <a:lnTo>
                    <a:pt x="196" y="251"/>
                  </a:lnTo>
                  <a:lnTo>
                    <a:pt x="201" y="256"/>
                  </a:lnTo>
                  <a:lnTo>
                    <a:pt x="201" y="256"/>
                  </a:lnTo>
                  <a:lnTo>
                    <a:pt x="214" y="265"/>
                  </a:lnTo>
                  <a:lnTo>
                    <a:pt x="229" y="275"/>
                  </a:lnTo>
                  <a:lnTo>
                    <a:pt x="249" y="285"/>
                  </a:lnTo>
                  <a:lnTo>
                    <a:pt x="272" y="295"/>
                  </a:lnTo>
                  <a:lnTo>
                    <a:pt x="361" y="328"/>
                  </a:lnTo>
                  <a:lnTo>
                    <a:pt x="361" y="328"/>
                  </a:lnTo>
                  <a:lnTo>
                    <a:pt x="383" y="338"/>
                  </a:lnTo>
                  <a:lnTo>
                    <a:pt x="406" y="348"/>
                  </a:lnTo>
                  <a:lnTo>
                    <a:pt x="425" y="358"/>
                  </a:lnTo>
                  <a:lnTo>
                    <a:pt x="444" y="369"/>
                  </a:lnTo>
                  <a:lnTo>
                    <a:pt x="460" y="382"/>
                  </a:lnTo>
                  <a:lnTo>
                    <a:pt x="476" y="394"/>
                  </a:lnTo>
                  <a:lnTo>
                    <a:pt x="490" y="407"/>
                  </a:lnTo>
                  <a:lnTo>
                    <a:pt x="502" y="421"/>
                  </a:lnTo>
                  <a:lnTo>
                    <a:pt x="513" y="435"/>
                  </a:lnTo>
                  <a:lnTo>
                    <a:pt x="523" y="449"/>
                  </a:lnTo>
                  <a:lnTo>
                    <a:pt x="532" y="465"/>
                  </a:lnTo>
                  <a:lnTo>
                    <a:pt x="538" y="482"/>
                  </a:lnTo>
                  <a:lnTo>
                    <a:pt x="543" y="499"/>
                  </a:lnTo>
                  <a:lnTo>
                    <a:pt x="546" y="516"/>
                  </a:lnTo>
                  <a:lnTo>
                    <a:pt x="549" y="533"/>
                  </a:lnTo>
                  <a:lnTo>
                    <a:pt x="550" y="552"/>
                  </a:lnTo>
                  <a:lnTo>
                    <a:pt x="550" y="552"/>
                  </a:lnTo>
                  <a:lnTo>
                    <a:pt x="549" y="577"/>
                  </a:lnTo>
                  <a:lnTo>
                    <a:pt x="545" y="601"/>
                  </a:lnTo>
                  <a:lnTo>
                    <a:pt x="539" y="624"/>
                  </a:lnTo>
                  <a:lnTo>
                    <a:pt x="530" y="645"/>
                  </a:lnTo>
                  <a:lnTo>
                    <a:pt x="519" y="664"/>
                  </a:lnTo>
                  <a:lnTo>
                    <a:pt x="506" y="683"/>
                  </a:lnTo>
                  <a:lnTo>
                    <a:pt x="488" y="699"/>
                  </a:lnTo>
                  <a:lnTo>
                    <a:pt x="470" y="715"/>
                  </a:lnTo>
                  <a:lnTo>
                    <a:pt x="470" y="715"/>
                  </a:lnTo>
                  <a:lnTo>
                    <a:pt x="450" y="728"/>
                  </a:lnTo>
                  <a:lnTo>
                    <a:pt x="428" y="741"/>
                  </a:lnTo>
                  <a:lnTo>
                    <a:pt x="403" y="751"/>
                  </a:lnTo>
                  <a:lnTo>
                    <a:pt x="377" y="759"/>
                  </a:lnTo>
                  <a:lnTo>
                    <a:pt x="350" y="767"/>
                  </a:lnTo>
                  <a:lnTo>
                    <a:pt x="320" y="770"/>
                  </a:lnTo>
                  <a:lnTo>
                    <a:pt x="288" y="774"/>
                  </a:lnTo>
                  <a:lnTo>
                    <a:pt x="255" y="774"/>
                  </a:lnTo>
                  <a:lnTo>
                    <a:pt x="255" y="774"/>
                  </a:lnTo>
                  <a:lnTo>
                    <a:pt x="223" y="773"/>
                  </a:lnTo>
                  <a:lnTo>
                    <a:pt x="191" y="769"/>
                  </a:lnTo>
                  <a:lnTo>
                    <a:pt x="159" y="763"/>
                  </a:lnTo>
                  <a:lnTo>
                    <a:pt x="127" y="756"/>
                  </a:lnTo>
                  <a:lnTo>
                    <a:pt x="95" y="745"/>
                  </a:lnTo>
                  <a:lnTo>
                    <a:pt x="63" y="732"/>
                  </a:lnTo>
                  <a:lnTo>
                    <a:pt x="32" y="716"/>
                  </a:lnTo>
                  <a:lnTo>
                    <a:pt x="0" y="6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dirty="0"/>
            </a:p>
          </p:txBody>
        </p:sp>
        <p:sp>
          <p:nvSpPr>
            <p:cNvPr id="48" name="Freeform 212"/>
            <p:cNvSpPr>
              <a:spLocks noEditPoints="1"/>
            </p:cNvSpPr>
            <p:nvPr/>
          </p:nvSpPr>
          <p:spPr bwMode="auto">
            <a:xfrm>
              <a:off x="5275776" y="3868086"/>
              <a:ext cx="550870" cy="703587"/>
            </a:xfrm>
            <a:custGeom>
              <a:avLst/>
              <a:gdLst>
                <a:gd name="T0" fmla="*/ 293 w 606"/>
                <a:gd name="T1" fmla="*/ 115 h 774"/>
                <a:gd name="T2" fmla="*/ 248 w 606"/>
                <a:gd name="T3" fmla="*/ 127 h 774"/>
                <a:gd name="T4" fmla="*/ 211 w 606"/>
                <a:gd name="T5" fmla="*/ 154 h 774"/>
                <a:gd name="T6" fmla="*/ 184 w 606"/>
                <a:gd name="T7" fmla="*/ 195 h 774"/>
                <a:gd name="T8" fmla="*/ 167 w 606"/>
                <a:gd name="T9" fmla="*/ 252 h 774"/>
                <a:gd name="T10" fmla="*/ 158 w 606"/>
                <a:gd name="T11" fmla="*/ 323 h 774"/>
                <a:gd name="T12" fmla="*/ 459 w 606"/>
                <a:gd name="T13" fmla="*/ 305 h 774"/>
                <a:gd name="T14" fmla="*/ 454 w 606"/>
                <a:gd name="T15" fmla="*/ 244 h 774"/>
                <a:gd name="T16" fmla="*/ 438 w 606"/>
                <a:gd name="T17" fmla="*/ 195 h 774"/>
                <a:gd name="T18" fmla="*/ 422 w 606"/>
                <a:gd name="T19" fmla="*/ 167 h 774"/>
                <a:gd name="T20" fmla="*/ 389 w 606"/>
                <a:gd name="T21" fmla="*/ 135 h 774"/>
                <a:gd name="T22" fmla="*/ 346 w 606"/>
                <a:gd name="T23" fmla="*/ 117 h 774"/>
                <a:gd name="T24" fmla="*/ 596 w 606"/>
                <a:gd name="T25" fmla="*/ 436 h 774"/>
                <a:gd name="T26" fmla="*/ 160 w 606"/>
                <a:gd name="T27" fmla="*/ 461 h 774"/>
                <a:gd name="T28" fmla="*/ 172 w 606"/>
                <a:gd name="T29" fmla="*/ 527 h 774"/>
                <a:gd name="T30" fmla="*/ 194 w 606"/>
                <a:gd name="T31" fmla="*/ 579 h 774"/>
                <a:gd name="T32" fmla="*/ 214 w 606"/>
                <a:gd name="T33" fmla="*/ 606 h 774"/>
                <a:gd name="T34" fmla="*/ 255 w 606"/>
                <a:gd name="T35" fmla="*/ 635 h 774"/>
                <a:gd name="T36" fmla="*/ 313 w 606"/>
                <a:gd name="T37" fmla="*/ 648 h 774"/>
                <a:gd name="T38" fmla="*/ 359 w 606"/>
                <a:gd name="T39" fmla="*/ 648 h 774"/>
                <a:gd name="T40" fmla="*/ 432 w 606"/>
                <a:gd name="T41" fmla="*/ 636 h 774"/>
                <a:gd name="T42" fmla="*/ 484 w 606"/>
                <a:gd name="T43" fmla="*/ 617 h 774"/>
                <a:gd name="T44" fmla="*/ 538 w 606"/>
                <a:gd name="T45" fmla="*/ 591 h 774"/>
                <a:gd name="T46" fmla="*/ 563 w 606"/>
                <a:gd name="T47" fmla="*/ 622 h 774"/>
                <a:gd name="T48" fmla="*/ 580 w 606"/>
                <a:gd name="T49" fmla="*/ 661 h 774"/>
                <a:gd name="T50" fmla="*/ 587 w 606"/>
                <a:gd name="T51" fmla="*/ 690 h 774"/>
                <a:gd name="T52" fmla="*/ 492 w 606"/>
                <a:gd name="T53" fmla="*/ 741 h 774"/>
                <a:gd name="T54" fmla="*/ 386 w 606"/>
                <a:gd name="T55" fmla="*/ 768 h 774"/>
                <a:gd name="T56" fmla="*/ 309 w 606"/>
                <a:gd name="T57" fmla="*/ 774 h 774"/>
                <a:gd name="T58" fmla="*/ 248 w 606"/>
                <a:gd name="T59" fmla="*/ 769 h 774"/>
                <a:gd name="T60" fmla="*/ 195 w 606"/>
                <a:gd name="T61" fmla="*/ 757 h 774"/>
                <a:gd name="T62" fmla="*/ 165 w 606"/>
                <a:gd name="T63" fmla="*/ 743 h 774"/>
                <a:gd name="T64" fmla="*/ 125 w 606"/>
                <a:gd name="T65" fmla="*/ 717 h 774"/>
                <a:gd name="T66" fmla="*/ 90 w 606"/>
                <a:gd name="T67" fmla="*/ 686 h 774"/>
                <a:gd name="T68" fmla="*/ 70 w 606"/>
                <a:gd name="T69" fmla="*/ 662 h 774"/>
                <a:gd name="T70" fmla="*/ 46 w 606"/>
                <a:gd name="T71" fmla="*/ 620 h 774"/>
                <a:gd name="T72" fmla="*/ 27 w 606"/>
                <a:gd name="T73" fmla="*/ 572 h 774"/>
                <a:gd name="T74" fmla="*/ 10 w 606"/>
                <a:gd name="T75" fmla="*/ 501 h 774"/>
                <a:gd name="T76" fmla="*/ 0 w 606"/>
                <a:gd name="T77" fmla="*/ 382 h 774"/>
                <a:gd name="T78" fmla="*/ 5 w 606"/>
                <a:gd name="T79" fmla="*/ 302 h 774"/>
                <a:gd name="T80" fmla="*/ 21 w 606"/>
                <a:gd name="T81" fmla="*/ 228 h 774"/>
                <a:gd name="T82" fmla="*/ 38 w 606"/>
                <a:gd name="T83" fmla="*/ 179 h 774"/>
                <a:gd name="T84" fmla="*/ 62 w 606"/>
                <a:gd name="T85" fmla="*/ 135 h 774"/>
                <a:gd name="T86" fmla="*/ 80 w 606"/>
                <a:gd name="T87" fmla="*/ 107 h 774"/>
                <a:gd name="T88" fmla="*/ 112 w 606"/>
                <a:gd name="T89" fmla="*/ 73 h 774"/>
                <a:gd name="T90" fmla="*/ 149 w 606"/>
                <a:gd name="T91" fmla="*/ 44 h 774"/>
                <a:gd name="T92" fmla="*/ 176 w 606"/>
                <a:gd name="T93" fmla="*/ 28 h 774"/>
                <a:gd name="T94" fmla="*/ 221 w 606"/>
                <a:gd name="T95" fmla="*/ 11 h 774"/>
                <a:gd name="T96" fmla="*/ 270 w 606"/>
                <a:gd name="T97" fmla="*/ 1 h 774"/>
                <a:gd name="T98" fmla="*/ 305 w 606"/>
                <a:gd name="T99" fmla="*/ 0 h 774"/>
                <a:gd name="T100" fmla="*/ 357 w 606"/>
                <a:gd name="T101" fmla="*/ 2 h 774"/>
                <a:gd name="T102" fmla="*/ 404 w 606"/>
                <a:gd name="T103" fmla="*/ 14 h 774"/>
                <a:gd name="T104" fmla="*/ 432 w 606"/>
                <a:gd name="T105" fmla="*/ 23 h 774"/>
                <a:gd name="T106" fmla="*/ 471 w 606"/>
                <a:gd name="T107" fmla="*/ 44 h 774"/>
                <a:gd name="T108" fmla="*/ 506 w 606"/>
                <a:gd name="T109" fmla="*/ 69 h 774"/>
                <a:gd name="T110" fmla="*/ 536 w 606"/>
                <a:gd name="T111" fmla="*/ 100 h 774"/>
                <a:gd name="T112" fmla="*/ 560 w 606"/>
                <a:gd name="T113" fmla="*/ 136 h 774"/>
                <a:gd name="T114" fmla="*/ 586 w 606"/>
                <a:gd name="T115" fmla="*/ 191 h 774"/>
                <a:gd name="T116" fmla="*/ 601 w 606"/>
                <a:gd name="T117" fmla="*/ 252 h 774"/>
                <a:gd name="T118" fmla="*/ 606 w 606"/>
                <a:gd name="T119" fmla="*/ 319 h 774"/>
                <a:gd name="T120" fmla="*/ 604 w 606"/>
                <a:gd name="T121" fmla="*/ 378 h 7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606" h="774">
                  <a:moveTo>
                    <a:pt x="310" y="114"/>
                  </a:moveTo>
                  <a:lnTo>
                    <a:pt x="310" y="114"/>
                  </a:lnTo>
                  <a:lnTo>
                    <a:pt x="293" y="115"/>
                  </a:lnTo>
                  <a:lnTo>
                    <a:pt x="276" y="117"/>
                  </a:lnTo>
                  <a:lnTo>
                    <a:pt x="262" y="121"/>
                  </a:lnTo>
                  <a:lnTo>
                    <a:pt x="248" y="127"/>
                  </a:lnTo>
                  <a:lnTo>
                    <a:pt x="235" y="135"/>
                  </a:lnTo>
                  <a:lnTo>
                    <a:pt x="222" y="143"/>
                  </a:lnTo>
                  <a:lnTo>
                    <a:pt x="211" y="154"/>
                  </a:lnTo>
                  <a:lnTo>
                    <a:pt x="201" y="167"/>
                  </a:lnTo>
                  <a:lnTo>
                    <a:pt x="193" y="180"/>
                  </a:lnTo>
                  <a:lnTo>
                    <a:pt x="184" y="195"/>
                  </a:lnTo>
                  <a:lnTo>
                    <a:pt x="178" y="212"/>
                  </a:lnTo>
                  <a:lnTo>
                    <a:pt x="172" y="232"/>
                  </a:lnTo>
                  <a:lnTo>
                    <a:pt x="167" y="252"/>
                  </a:lnTo>
                  <a:lnTo>
                    <a:pt x="163" y="274"/>
                  </a:lnTo>
                  <a:lnTo>
                    <a:pt x="160" y="299"/>
                  </a:lnTo>
                  <a:lnTo>
                    <a:pt x="158" y="323"/>
                  </a:lnTo>
                  <a:lnTo>
                    <a:pt x="459" y="323"/>
                  </a:lnTo>
                  <a:lnTo>
                    <a:pt x="459" y="305"/>
                  </a:lnTo>
                  <a:lnTo>
                    <a:pt x="459" y="305"/>
                  </a:lnTo>
                  <a:lnTo>
                    <a:pt x="458" y="284"/>
                  </a:lnTo>
                  <a:lnTo>
                    <a:pt x="457" y="264"/>
                  </a:lnTo>
                  <a:lnTo>
                    <a:pt x="454" y="244"/>
                  </a:lnTo>
                  <a:lnTo>
                    <a:pt x="449" y="227"/>
                  </a:lnTo>
                  <a:lnTo>
                    <a:pt x="444" y="211"/>
                  </a:lnTo>
                  <a:lnTo>
                    <a:pt x="438" y="195"/>
                  </a:lnTo>
                  <a:lnTo>
                    <a:pt x="431" y="180"/>
                  </a:lnTo>
                  <a:lnTo>
                    <a:pt x="422" y="167"/>
                  </a:lnTo>
                  <a:lnTo>
                    <a:pt x="422" y="167"/>
                  </a:lnTo>
                  <a:lnTo>
                    <a:pt x="412" y="154"/>
                  </a:lnTo>
                  <a:lnTo>
                    <a:pt x="401" y="144"/>
                  </a:lnTo>
                  <a:lnTo>
                    <a:pt x="389" y="135"/>
                  </a:lnTo>
                  <a:lnTo>
                    <a:pt x="376" y="127"/>
                  </a:lnTo>
                  <a:lnTo>
                    <a:pt x="362" y="121"/>
                  </a:lnTo>
                  <a:lnTo>
                    <a:pt x="346" y="117"/>
                  </a:lnTo>
                  <a:lnTo>
                    <a:pt x="328" y="115"/>
                  </a:lnTo>
                  <a:lnTo>
                    <a:pt x="310" y="114"/>
                  </a:lnTo>
                  <a:close/>
                  <a:moveTo>
                    <a:pt x="596" y="436"/>
                  </a:moveTo>
                  <a:lnTo>
                    <a:pt x="159" y="436"/>
                  </a:lnTo>
                  <a:lnTo>
                    <a:pt x="159" y="436"/>
                  </a:lnTo>
                  <a:lnTo>
                    <a:pt x="160" y="461"/>
                  </a:lnTo>
                  <a:lnTo>
                    <a:pt x="163" y="484"/>
                  </a:lnTo>
                  <a:lnTo>
                    <a:pt x="167" y="506"/>
                  </a:lnTo>
                  <a:lnTo>
                    <a:pt x="172" y="527"/>
                  </a:lnTo>
                  <a:lnTo>
                    <a:pt x="178" y="546"/>
                  </a:lnTo>
                  <a:lnTo>
                    <a:pt x="185" y="563"/>
                  </a:lnTo>
                  <a:lnTo>
                    <a:pt x="194" y="579"/>
                  </a:lnTo>
                  <a:lnTo>
                    <a:pt x="202" y="594"/>
                  </a:lnTo>
                  <a:lnTo>
                    <a:pt x="202" y="594"/>
                  </a:lnTo>
                  <a:lnTo>
                    <a:pt x="214" y="606"/>
                  </a:lnTo>
                  <a:lnTo>
                    <a:pt x="226" y="617"/>
                  </a:lnTo>
                  <a:lnTo>
                    <a:pt x="239" y="627"/>
                  </a:lnTo>
                  <a:lnTo>
                    <a:pt x="255" y="635"/>
                  </a:lnTo>
                  <a:lnTo>
                    <a:pt x="273" y="641"/>
                  </a:lnTo>
                  <a:lnTo>
                    <a:pt x="293" y="646"/>
                  </a:lnTo>
                  <a:lnTo>
                    <a:pt x="313" y="648"/>
                  </a:lnTo>
                  <a:lnTo>
                    <a:pt x="336" y="649"/>
                  </a:lnTo>
                  <a:lnTo>
                    <a:pt x="336" y="649"/>
                  </a:lnTo>
                  <a:lnTo>
                    <a:pt x="359" y="648"/>
                  </a:lnTo>
                  <a:lnTo>
                    <a:pt x="383" y="646"/>
                  </a:lnTo>
                  <a:lnTo>
                    <a:pt x="407" y="641"/>
                  </a:lnTo>
                  <a:lnTo>
                    <a:pt x="432" y="636"/>
                  </a:lnTo>
                  <a:lnTo>
                    <a:pt x="432" y="636"/>
                  </a:lnTo>
                  <a:lnTo>
                    <a:pt x="458" y="627"/>
                  </a:lnTo>
                  <a:lnTo>
                    <a:pt x="484" y="617"/>
                  </a:lnTo>
                  <a:lnTo>
                    <a:pt x="511" y="606"/>
                  </a:lnTo>
                  <a:lnTo>
                    <a:pt x="538" y="591"/>
                  </a:lnTo>
                  <a:lnTo>
                    <a:pt x="538" y="591"/>
                  </a:lnTo>
                  <a:lnTo>
                    <a:pt x="547" y="601"/>
                  </a:lnTo>
                  <a:lnTo>
                    <a:pt x="555" y="611"/>
                  </a:lnTo>
                  <a:lnTo>
                    <a:pt x="563" y="622"/>
                  </a:lnTo>
                  <a:lnTo>
                    <a:pt x="569" y="633"/>
                  </a:lnTo>
                  <a:lnTo>
                    <a:pt x="575" y="646"/>
                  </a:lnTo>
                  <a:lnTo>
                    <a:pt x="580" y="661"/>
                  </a:lnTo>
                  <a:lnTo>
                    <a:pt x="584" y="674"/>
                  </a:lnTo>
                  <a:lnTo>
                    <a:pt x="587" y="690"/>
                  </a:lnTo>
                  <a:lnTo>
                    <a:pt x="587" y="690"/>
                  </a:lnTo>
                  <a:lnTo>
                    <a:pt x="557" y="710"/>
                  </a:lnTo>
                  <a:lnTo>
                    <a:pt x="526" y="727"/>
                  </a:lnTo>
                  <a:lnTo>
                    <a:pt x="492" y="741"/>
                  </a:lnTo>
                  <a:lnTo>
                    <a:pt x="458" y="753"/>
                  </a:lnTo>
                  <a:lnTo>
                    <a:pt x="423" y="762"/>
                  </a:lnTo>
                  <a:lnTo>
                    <a:pt x="386" y="768"/>
                  </a:lnTo>
                  <a:lnTo>
                    <a:pt x="348" y="773"/>
                  </a:lnTo>
                  <a:lnTo>
                    <a:pt x="309" y="774"/>
                  </a:lnTo>
                  <a:lnTo>
                    <a:pt x="309" y="774"/>
                  </a:lnTo>
                  <a:lnTo>
                    <a:pt x="288" y="773"/>
                  </a:lnTo>
                  <a:lnTo>
                    <a:pt x="267" y="772"/>
                  </a:lnTo>
                  <a:lnTo>
                    <a:pt x="248" y="769"/>
                  </a:lnTo>
                  <a:lnTo>
                    <a:pt x="230" y="767"/>
                  </a:lnTo>
                  <a:lnTo>
                    <a:pt x="212" y="762"/>
                  </a:lnTo>
                  <a:lnTo>
                    <a:pt x="195" y="757"/>
                  </a:lnTo>
                  <a:lnTo>
                    <a:pt x="180" y="751"/>
                  </a:lnTo>
                  <a:lnTo>
                    <a:pt x="165" y="743"/>
                  </a:lnTo>
                  <a:lnTo>
                    <a:pt x="165" y="743"/>
                  </a:lnTo>
                  <a:lnTo>
                    <a:pt x="151" y="736"/>
                  </a:lnTo>
                  <a:lnTo>
                    <a:pt x="137" y="727"/>
                  </a:lnTo>
                  <a:lnTo>
                    <a:pt x="125" y="717"/>
                  </a:lnTo>
                  <a:lnTo>
                    <a:pt x="112" y="707"/>
                  </a:lnTo>
                  <a:lnTo>
                    <a:pt x="100" y="698"/>
                  </a:lnTo>
                  <a:lnTo>
                    <a:pt x="90" y="686"/>
                  </a:lnTo>
                  <a:lnTo>
                    <a:pt x="79" y="674"/>
                  </a:lnTo>
                  <a:lnTo>
                    <a:pt x="70" y="662"/>
                  </a:lnTo>
                  <a:lnTo>
                    <a:pt x="70" y="662"/>
                  </a:lnTo>
                  <a:lnTo>
                    <a:pt x="62" y="648"/>
                  </a:lnTo>
                  <a:lnTo>
                    <a:pt x="53" y="635"/>
                  </a:lnTo>
                  <a:lnTo>
                    <a:pt x="46" y="620"/>
                  </a:lnTo>
                  <a:lnTo>
                    <a:pt x="38" y="604"/>
                  </a:lnTo>
                  <a:lnTo>
                    <a:pt x="32" y="589"/>
                  </a:lnTo>
                  <a:lnTo>
                    <a:pt x="27" y="572"/>
                  </a:lnTo>
                  <a:lnTo>
                    <a:pt x="17" y="537"/>
                  </a:lnTo>
                  <a:lnTo>
                    <a:pt x="17" y="537"/>
                  </a:lnTo>
                  <a:lnTo>
                    <a:pt x="10" y="501"/>
                  </a:lnTo>
                  <a:lnTo>
                    <a:pt x="5" y="463"/>
                  </a:lnTo>
                  <a:lnTo>
                    <a:pt x="1" y="423"/>
                  </a:lnTo>
                  <a:lnTo>
                    <a:pt x="0" y="382"/>
                  </a:lnTo>
                  <a:lnTo>
                    <a:pt x="0" y="382"/>
                  </a:lnTo>
                  <a:lnTo>
                    <a:pt x="1" y="342"/>
                  </a:lnTo>
                  <a:lnTo>
                    <a:pt x="5" y="302"/>
                  </a:lnTo>
                  <a:lnTo>
                    <a:pt x="12" y="265"/>
                  </a:lnTo>
                  <a:lnTo>
                    <a:pt x="21" y="228"/>
                  </a:lnTo>
                  <a:lnTo>
                    <a:pt x="21" y="228"/>
                  </a:lnTo>
                  <a:lnTo>
                    <a:pt x="26" y="211"/>
                  </a:lnTo>
                  <a:lnTo>
                    <a:pt x="32" y="195"/>
                  </a:lnTo>
                  <a:lnTo>
                    <a:pt x="38" y="179"/>
                  </a:lnTo>
                  <a:lnTo>
                    <a:pt x="46" y="163"/>
                  </a:lnTo>
                  <a:lnTo>
                    <a:pt x="54" y="148"/>
                  </a:lnTo>
                  <a:lnTo>
                    <a:pt x="62" y="135"/>
                  </a:lnTo>
                  <a:lnTo>
                    <a:pt x="72" y="121"/>
                  </a:lnTo>
                  <a:lnTo>
                    <a:pt x="80" y="107"/>
                  </a:lnTo>
                  <a:lnTo>
                    <a:pt x="80" y="107"/>
                  </a:lnTo>
                  <a:lnTo>
                    <a:pt x="91" y="95"/>
                  </a:lnTo>
                  <a:lnTo>
                    <a:pt x="101" y="84"/>
                  </a:lnTo>
                  <a:lnTo>
                    <a:pt x="112" y="73"/>
                  </a:lnTo>
                  <a:lnTo>
                    <a:pt x="125" y="63"/>
                  </a:lnTo>
                  <a:lnTo>
                    <a:pt x="137" y="53"/>
                  </a:lnTo>
                  <a:lnTo>
                    <a:pt x="149" y="44"/>
                  </a:lnTo>
                  <a:lnTo>
                    <a:pt x="163" y="36"/>
                  </a:lnTo>
                  <a:lnTo>
                    <a:pt x="176" y="28"/>
                  </a:lnTo>
                  <a:lnTo>
                    <a:pt x="176" y="28"/>
                  </a:lnTo>
                  <a:lnTo>
                    <a:pt x="191" y="22"/>
                  </a:lnTo>
                  <a:lnTo>
                    <a:pt x="206" y="16"/>
                  </a:lnTo>
                  <a:lnTo>
                    <a:pt x="221" y="11"/>
                  </a:lnTo>
                  <a:lnTo>
                    <a:pt x="237" y="6"/>
                  </a:lnTo>
                  <a:lnTo>
                    <a:pt x="253" y="4"/>
                  </a:lnTo>
                  <a:lnTo>
                    <a:pt x="270" y="1"/>
                  </a:lnTo>
                  <a:lnTo>
                    <a:pt x="288" y="0"/>
                  </a:lnTo>
                  <a:lnTo>
                    <a:pt x="305" y="0"/>
                  </a:lnTo>
                  <a:lnTo>
                    <a:pt x="305" y="0"/>
                  </a:lnTo>
                  <a:lnTo>
                    <a:pt x="322" y="0"/>
                  </a:lnTo>
                  <a:lnTo>
                    <a:pt x="339" y="1"/>
                  </a:lnTo>
                  <a:lnTo>
                    <a:pt x="357" y="2"/>
                  </a:lnTo>
                  <a:lnTo>
                    <a:pt x="373" y="5"/>
                  </a:lnTo>
                  <a:lnTo>
                    <a:pt x="388" y="9"/>
                  </a:lnTo>
                  <a:lnTo>
                    <a:pt x="404" y="14"/>
                  </a:lnTo>
                  <a:lnTo>
                    <a:pt x="418" y="19"/>
                  </a:lnTo>
                  <a:lnTo>
                    <a:pt x="432" y="23"/>
                  </a:lnTo>
                  <a:lnTo>
                    <a:pt x="432" y="23"/>
                  </a:lnTo>
                  <a:lnTo>
                    <a:pt x="446" y="30"/>
                  </a:lnTo>
                  <a:lnTo>
                    <a:pt x="459" y="37"/>
                  </a:lnTo>
                  <a:lnTo>
                    <a:pt x="471" y="44"/>
                  </a:lnTo>
                  <a:lnTo>
                    <a:pt x="484" y="52"/>
                  </a:lnTo>
                  <a:lnTo>
                    <a:pt x="495" y="60"/>
                  </a:lnTo>
                  <a:lnTo>
                    <a:pt x="506" y="69"/>
                  </a:lnTo>
                  <a:lnTo>
                    <a:pt x="527" y="90"/>
                  </a:lnTo>
                  <a:lnTo>
                    <a:pt x="527" y="90"/>
                  </a:lnTo>
                  <a:lnTo>
                    <a:pt x="536" y="100"/>
                  </a:lnTo>
                  <a:lnTo>
                    <a:pt x="546" y="111"/>
                  </a:lnTo>
                  <a:lnTo>
                    <a:pt x="553" y="123"/>
                  </a:lnTo>
                  <a:lnTo>
                    <a:pt x="560" y="136"/>
                  </a:lnTo>
                  <a:lnTo>
                    <a:pt x="568" y="149"/>
                  </a:lnTo>
                  <a:lnTo>
                    <a:pt x="574" y="163"/>
                  </a:lnTo>
                  <a:lnTo>
                    <a:pt x="586" y="191"/>
                  </a:lnTo>
                  <a:lnTo>
                    <a:pt x="586" y="191"/>
                  </a:lnTo>
                  <a:lnTo>
                    <a:pt x="595" y="221"/>
                  </a:lnTo>
                  <a:lnTo>
                    <a:pt x="601" y="252"/>
                  </a:lnTo>
                  <a:lnTo>
                    <a:pt x="605" y="285"/>
                  </a:lnTo>
                  <a:lnTo>
                    <a:pt x="606" y="319"/>
                  </a:lnTo>
                  <a:lnTo>
                    <a:pt x="606" y="319"/>
                  </a:lnTo>
                  <a:lnTo>
                    <a:pt x="606" y="348"/>
                  </a:lnTo>
                  <a:lnTo>
                    <a:pt x="604" y="378"/>
                  </a:lnTo>
                  <a:lnTo>
                    <a:pt x="604" y="378"/>
                  </a:lnTo>
                  <a:lnTo>
                    <a:pt x="601" y="406"/>
                  </a:lnTo>
                  <a:lnTo>
                    <a:pt x="596" y="4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dirty="0"/>
            </a:p>
          </p:txBody>
        </p:sp>
      </p:grpSp>
      <p:cxnSp>
        <p:nvCxnSpPr>
          <p:cNvPr id="21" name="Straight Connector 20"/>
          <p:cNvCxnSpPr/>
          <p:nvPr/>
        </p:nvCxnSpPr>
        <p:spPr>
          <a:xfrm>
            <a:off x="7398878" y="1042080"/>
            <a:ext cx="622584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8333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sole Bot: App.js</a:t>
            </a:r>
            <a:endParaRPr lang="uk-UA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530475" y="1072516"/>
            <a:ext cx="8003232" cy="1852581"/>
          </a:xfrm>
          <a:solidFill>
            <a:schemeClr val="accent4">
              <a:lumMod val="10000"/>
            </a:schemeClr>
          </a:solidFill>
        </p:spPr>
        <p:txBody>
          <a:bodyPr/>
          <a:lstStyle/>
          <a:p>
            <a:pPr marL="0" indent="0">
              <a:buNone/>
            </a:pPr>
            <a:r>
              <a:rPr lang="en-US" dirty="0" err="1">
                <a:solidFill>
                  <a:srgbClr val="569CD6"/>
                </a:solidFill>
                <a:latin typeface="Consolas" panose="020B0609020204030204" pitchFamily="49" charset="0"/>
              </a:rPr>
              <a:t>var</a:t>
            </a:r>
            <a:r>
              <a:rPr lang="en-US" dirty="0">
                <a:solidFill>
                  <a:srgbClr val="D4D4D4"/>
                </a:solidFill>
                <a:latin typeface="Consolas" panose="020B0609020204030204" pitchFamily="49" charset="0"/>
              </a:rPr>
              <a:t> </a:t>
            </a:r>
            <a:r>
              <a:rPr lang="en-US" dirty="0">
                <a:solidFill>
                  <a:srgbClr val="9CDCFE"/>
                </a:solidFill>
                <a:latin typeface="Consolas" panose="020B0609020204030204" pitchFamily="49" charset="0"/>
              </a:rPr>
              <a:t>builder</a:t>
            </a:r>
            <a:r>
              <a:rPr lang="en-US" dirty="0">
                <a:solidFill>
                  <a:srgbClr val="D4D4D4"/>
                </a:solidFill>
                <a:latin typeface="Consolas" panose="020B0609020204030204" pitchFamily="49" charset="0"/>
              </a:rPr>
              <a:t> = </a:t>
            </a:r>
            <a:r>
              <a:rPr lang="en-US" dirty="0">
                <a:solidFill>
                  <a:srgbClr val="DCDCAA"/>
                </a:solidFill>
                <a:latin typeface="Consolas" panose="020B0609020204030204" pitchFamily="49" charset="0"/>
              </a:rPr>
              <a:t>require</a:t>
            </a:r>
            <a:r>
              <a:rPr lang="en-US" dirty="0">
                <a:solidFill>
                  <a:srgbClr val="D4D4D4"/>
                </a:solidFill>
                <a:latin typeface="Consolas" panose="020B0609020204030204" pitchFamily="49" charset="0"/>
              </a:rPr>
              <a:t>(</a:t>
            </a:r>
            <a:r>
              <a:rPr lang="en-US" dirty="0">
                <a:solidFill>
                  <a:srgbClr val="CE9178"/>
                </a:solidFill>
                <a:latin typeface="Consolas" panose="020B0609020204030204" pitchFamily="49" charset="0"/>
              </a:rPr>
              <a:t>'</a:t>
            </a:r>
            <a:r>
              <a:rPr lang="en-US" dirty="0" err="1">
                <a:solidFill>
                  <a:srgbClr val="CE9178"/>
                </a:solidFill>
                <a:latin typeface="Consolas" panose="020B0609020204030204" pitchFamily="49" charset="0"/>
              </a:rPr>
              <a:t>botbuilder</a:t>
            </a:r>
            <a:r>
              <a:rPr lang="en-US" dirty="0">
                <a:solidFill>
                  <a:srgbClr val="CE9178"/>
                </a:solidFill>
                <a:latin typeface="Consolas" panose="020B0609020204030204" pitchFamily="49" charset="0"/>
              </a:rPr>
              <a:t>'</a:t>
            </a:r>
            <a:r>
              <a:rPr lang="en-US" dirty="0">
                <a:solidFill>
                  <a:srgbClr val="D4D4D4"/>
                </a:solidFill>
                <a:latin typeface="Consolas" panose="020B0609020204030204" pitchFamily="49" charset="0"/>
              </a:rPr>
              <a:t>);</a:t>
            </a:r>
          </a:p>
          <a:p>
            <a:pPr marL="0" indent="0">
              <a:buNone/>
            </a:pPr>
            <a:r>
              <a:rPr lang="en-US" dirty="0">
                <a:solidFill>
                  <a:srgbClr val="D4D4D4"/>
                </a:solidFill>
                <a:latin typeface="Consolas" panose="020B0609020204030204" pitchFamily="49" charset="0"/>
              </a:rPr>
              <a:t/>
            </a:r>
            <a:br>
              <a:rPr lang="en-US" dirty="0">
                <a:solidFill>
                  <a:srgbClr val="D4D4D4"/>
                </a:solidFill>
                <a:latin typeface="Consolas" panose="020B0609020204030204" pitchFamily="49" charset="0"/>
              </a:rPr>
            </a:br>
            <a:r>
              <a:rPr lang="en-US" dirty="0" err="1">
                <a:solidFill>
                  <a:srgbClr val="569CD6"/>
                </a:solidFill>
                <a:latin typeface="Consolas" panose="020B0609020204030204" pitchFamily="49" charset="0"/>
              </a:rPr>
              <a:t>var</a:t>
            </a:r>
            <a:r>
              <a:rPr lang="en-US" dirty="0">
                <a:solidFill>
                  <a:srgbClr val="D4D4D4"/>
                </a:solidFill>
                <a:latin typeface="Consolas" panose="020B0609020204030204" pitchFamily="49" charset="0"/>
              </a:rPr>
              <a:t> </a:t>
            </a:r>
            <a:r>
              <a:rPr lang="en-US" dirty="0">
                <a:solidFill>
                  <a:srgbClr val="9CDCFE"/>
                </a:solidFill>
                <a:latin typeface="Consolas" panose="020B0609020204030204" pitchFamily="49" charset="0"/>
              </a:rPr>
              <a:t>connector</a:t>
            </a:r>
            <a:r>
              <a:rPr lang="en-US" dirty="0">
                <a:solidFill>
                  <a:srgbClr val="D4D4D4"/>
                </a:solidFill>
                <a:latin typeface="Consolas" panose="020B0609020204030204" pitchFamily="49" charset="0"/>
              </a:rPr>
              <a:t> = </a:t>
            </a:r>
            <a:r>
              <a:rPr lang="en-US" dirty="0">
                <a:solidFill>
                  <a:srgbClr val="569CD6"/>
                </a:solidFill>
                <a:latin typeface="Consolas" panose="020B0609020204030204" pitchFamily="49" charset="0"/>
              </a:rPr>
              <a:t>new</a:t>
            </a:r>
            <a:r>
              <a:rPr lang="en-US" dirty="0">
                <a:solidFill>
                  <a:srgbClr val="D4D4D4"/>
                </a:solidFill>
                <a:latin typeface="Consolas" panose="020B0609020204030204" pitchFamily="49" charset="0"/>
              </a:rPr>
              <a:t> </a:t>
            </a:r>
            <a:r>
              <a:rPr lang="en-US" dirty="0" err="1">
                <a:solidFill>
                  <a:srgbClr val="4EC9B0"/>
                </a:solidFill>
                <a:latin typeface="Consolas" panose="020B0609020204030204" pitchFamily="49" charset="0"/>
              </a:rPr>
              <a:t>builder</a:t>
            </a:r>
            <a:r>
              <a:rPr lang="en-US" dirty="0" err="1">
                <a:solidFill>
                  <a:srgbClr val="D4D4D4"/>
                </a:solidFill>
                <a:latin typeface="Consolas" panose="020B0609020204030204" pitchFamily="49" charset="0"/>
              </a:rPr>
              <a:t>.</a:t>
            </a:r>
            <a:r>
              <a:rPr lang="en-US" dirty="0" err="1">
                <a:solidFill>
                  <a:srgbClr val="4EC9B0"/>
                </a:solidFill>
                <a:latin typeface="Consolas" panose="020B0609020204030204" pitchFamily="49" charset="0"/>
              </a:rPr>
              <a:t>ConsoleConnector</a:t>
            </a:r>
            <a:r>
              <a:rPr lang="en-US" dirty="0">
                <a:solidFill>
                  <a:srgbClr val="D4D4D4"/>
                </a:solidFill>
                <a:latin typeface="Consolas" panose="020B0609020204030204" pitchFamily="49" charset="0"/>
              </a:rPr>
              <a:t>().</a:t>
            </a:r>
            <a:r>
              <a:rPr lang="en-US" dirty="0">
                <a:solidFill>
                  <a:srgbClr val="DCDCAA"/>
                </a:solidFill>
                <a:latin typeface="Consolas" panose="020B0609020204030204" pitchFamily="49" charset="0"/>
              </a:rPr>
              <a:t>listen</a:t>
            </a:r>
            <a:r>
              <a:rPr lang="en-US" dirty="0">
                <a:solidFill>
                  <a:srgbClr val="D4D4D4"/>
                </a:solidFill>
                <a:latin typeface="Consolas" panose="020B0609020204030204" pitchFamily="49" charset="0"/>
              </a:rPr>
              <a:t>();</a:t>
            </a:r>
          </a:p>
          <a:p>
            <a:pPr marL="0" indent="0">
              <a:buNone/>
            </a:pPr>
            <a:r>
              <a:rPr lang="en-US" dirty="0" err="1">
                <a:solidFill>
                  <a:srgbClr val="569CD6"/>
                </a:solidFill>
                <a:latin typeface="Consolas" panose="020B0609020204030204" pitchFamily="49" charset="0"/>
              </a:rPr>
              <a:t>var</a:t>
            </a:r>
            <a:r>
              <a:rPr lang="en-US" dirty="0">
                <a:solidFill>
                  <a:srgbClr val="D4D4D4"/>
                </a:solidFill>
                <a:latin typeface="Consolas" panose="020B0609020204030204" pitchFamily="49" charset="0"/>
              </a:rPr>
              <a:t> </a:t>
            </a:r>
            <a:r>
              <a:rPr lang="en-US" dirty="0">
                <a:solidFill>
                  <a:srgbClr val="9CDCFE"/>
                </a:solidFill>
                <a:latin typeface="Consolas" panose="020B0609020204030204" pitchFamily="49" charset="0"/>
              </a:rPr>
              <a:t>bot</a:t>
            </a:r>
            <a:r>
              <a:rPr lang="en-US" dirty="0">
                <a:solidFill>
                  <a:srgbClr val="D4D4D4"/>
                </a:solidFill>
                <a:latin typeface="Consolas" panose="020B0609020204030204" pitchFamily="49" charset="0"/>
              </a:rPr>
              <a:t> = </a:t>
            </a:r>
            <a:r>
              <a:rPr lang="en-US" dirty="0">
                <a:solidFill>
                  <a:srgbClr val="569CD6"/>
                </a:solidFill>
                <a:latin typeface="Consolas" panose="020B0609020204030204" pitchFamily="49" charset="0"/>
              </a:rPr>
              <a:t>new</a:t>
            </a:r>
            <a:r>
              <a:rPr lang="en-US" dirty="0">
                <a:solidFill>
                  <a:srgbClr val="D4D4D4"/>
                </a:solidFill>
                <a:latin typeface="Consolas" panose="020B0609020204030204" pitchFamily="49" charset="0"/>
              </a:rPr>
              <a:t> </a:t>
            </a:r>
            <a:r>
              <a:rPr lang="en-US" dirty="0" err="1">
                <a:solidFill>
                  <a:srgbClr val="4EC9B0"/>
                </a:solidFill>
                <a:latin typeface="Consolas" panose="020B0609020204030204" pitchFamily="49" charset="0"/>
              </a:rPr>
              <a:t>builder</a:t>
            </a:r>
            <a:r>
              <a:rPr lang="en-US" dirty="0" err="1">
                <a:solidFill>
                  <a:srgbClr val="D4D4D4"/>
                </a:solidFill>
                <a:latin typeface="Consolas" panose="020B0609020204030204" pitchFamily="49" charset="0"/>
              </a:rPr>
              <a:t>.</a:t>
            </a:r>
            <a:r>
              <a:rPr lang="en-US" dirty="0" err="1">
                <a:solidFill>
                  <a:srgbClr val="4EC9B0"/>
                </a:solidFill>
                <a:latin typeface="Consolas" panose="020B0609020204030204" pitchFamily="49" charset="0"/>
              </a:rPr>
              <a:t>UniversalBot</a:t>
            </a:r>
            <a:r>
              <a:rPr lang="en-US" dirty="0">
                <a:solidFill>
                  <a:srgbClr val="D4D4D4"/>
                </a:solidFill>
                <a:latin typeface="Consolas" panose="020B0609020204030204" pitchFamily="49" charset="0"/>
              </a:rPr>
              <a:t>(</a:t>
            </a:r>
            <a:r>
              <a:rPr lang="en-US" dirty="0">
                <a:solidFill>
                  <a:srgbClr val="9CDCFE"/>
                </a:solidFill>
                <a:latin typeface="Consolas" panose="020B0609020204030204" pitchFamily="49" charset="0"/>
              </a:rPr>
              <a:t>connector</a:t>
            </a:r>
            <a:r>
              <a:rPr lang="en-US" dirty="0">
                <a:solidFill>
                  <a:srgbClr val="D4D4D4"/>
                </a:solidFill>
                <a:latin typeface="Consolas" panose="020B0609020204030204" pitchFamily="49" charset="0"/>
              </a:rPr>
              <a:t>, </a:t>
            </a:r>
            <a:r>
              <a:rPr lang="en-US" dirty="0">
                <a:solidFill>
                  <a:srgbClr val="569CD6"/>
                </a:solidFill>
                <a:latin typeface="Consolas" panose="020B0609020204030204" pitchFamily="49" charset="0"/>
              </a:rPr>
              <a:t>function</a:t>
            </a:r>
            <a:r>
              <a:rPr lang="en-US" dirty="0">
                <a:solidFill>
                  <a:srgbClr val="D4D4D4"/>
                </a:solidFill>
                <a:latin typeface="Consolas" panose="020B0609020204030204" pitchFamily="49" charset="0"/>
              </a:rPr>
              <a:t> (</a:t>
            </a:r>
            <a:r>
              <a:rPr lang="en-US" dirty="0">
                <a:solidFill>
                  <a:srgbClr val="9CDCFE"/>
                </a:solidFill>
                <a:latin typeface="Consolas" panose="020B0609020204030204" pitchFamily="49" charset="0"/>
              </a:rPr>
              <a:t>session</a:t>
            </a:r>
            <a:r>
              <a:rPr lang="en-US" dirty="0">
                <a:solidFill>
                  <a:srgbClr val="D4D4D4"/>
                </a:solidFill>
                <a:latin typeface="Consolas" panose="020B0609020204030204" pitchFamily="49" charset="0"/>
              </a:rPr>
              <a:t>) {</a:t>
            </a:r>
          </a:p>
          <a:p>
            <a:pPr marL="0" indent="0">
              <a:buNone/>
            </a:pPr>
            <a:r>
              <a:rPr lang="en-US" dirty="0" err="1">
                <a:solidFill>
                  <a:srgbClr val="9CDCFE"/>
                </a:solidFill>
                <a:latin typeface="Consolas" panose="020B0609020204030204" pitchFamily="49" charset="0"/>
              </a:rPr>
              <a:t>session</a:t>
            </a:r>
            <a:r>
              <a:rPr lang="en-US" dirty="0" err="1">
                <a:solidFill>
                  <a:srgbClr val="D4D4D4"/>
                </a:solidFill>
                <a:latin typeface="Consolas" panose="020B0609020204030204" pitchFamily="49" charset="0"/>
              </a:rPr>
              <a:t>.</a:t>
            </a:r>
            <a:r>
              <a:rPr lang="en-US" dirty="0" err="1">
                <a:solidFill>
                  <a:srgbClr val="DCDCAA"/>
                </a:solidFill>
                <a:latin typeface="Consolas" panose="020B0609020204030204" pitchFamily="49" charset="0"/>
              </a:rPr>
              <a:t>send</a:t>
            </a:r>
            <a:r>
              <a:rPr lang="en-US" dirty="0">
                <a:solidFill>
                  <a:srgbClr val="D4D4D4"/>
                </a:solidFill>
                <a:latin typeface="Consolas" panose="020B0609020204030204" pitchFamily="49" charset="0"/>
              </a:rPr>
              <a:t>(</a:t>
            </a:r>
            <a:r>
              <a:rPr lang="en-US" dirty="0">
                <a:solidFill>
                  <a:srgbClr val="CE9178"/>
                </a:solidFill>
                <a:latin typeface="Consolas" panose="020B0609020204030204" pitchFamily="49" charset="0"/>
              </a:rPr>
              <a:t>"You said: %s"</a:t>
            </a:r>
            <a:r>
              <a:rPr lang="en-US" dirty="0">
                <a:solidFill>
                  <a:srgbClr val="D4D4D4"/>
                </a:solidFill>
                <a:latin typeface="Consolas" panose="020B0609020204030204" pitchFamily="49" charset="0"/>
              </a:rPr>
              <a:t>, </a:t>
            </a:r>
            <a:r>
              <a:rPr lang="en-US" dirty="0" err="1">
                <a:solidFill>
                  <a:srgbClr val="9CDCFE"/>
                </a:solidFill>
                <a:latin typeface="Consolas" panose="020B0609020204030204" pitchFamily="49" charset="0"/>
              </a:rPr>
              <a:t>session</a:t>
            </a:r>
            <a:r>
              <a:rPr lang="en-US" dirty="0" err="1">
                <a:solidFill>
                  <a:srgbClr val="D4D4D4"/>
                </a:solidFill>
                <a:latin typeface="Consolas" panose="020B0609020204030204" pitchFamily="49" charset="0"/>
              </a:rPr>
              <a:t>.</a:t>
            </a:r>
            <a:r>
              <a:rPr lang="en-US" dirty="0" err="1">
                <a:solidFill>
                  <a:srgbClr val="9CDCFE"/>
                </a:solidFill>
                <a:latin typeface="Consolas" panose="020B0609020204030204" pitchFamily="49" charset="0"/>
              </a:rPr>
              <a:t>message</a:t>
            </a:r>
            <a:r>
              <a:rPr lang="en-US" dirty="0" err="1">
                <a:solidFill>
                  <a:srgbClr val="D4D4D4"/>
                </a:solidFill>
                <a:latin typeface="Consolas" panose="020B0609020204030204" pitchFamily="49" charset="0"/>
              </a:rPr>
              <a:t>.</a:t>
            </a:r>
            <a:r>
              <a:rPr lang="en-US" dirty="0" err="1">
                <a:solidFill>
                  <a:srgbClr val="9CDCFE"/>
                </a:solidFill>
                <a:latin typeface="Consolas" panose="020B0609020204030204" pitchFamily="49" charset="0"/>
              </a:rPr>
              <a:t>text</a:t>
            </a:r>
            <a:r>
              <a:rPr lang="en-US" dirty="0">
                <a:solidFill>
                  <a:srgbClr val="D4D4D4"/>
                </a:solidFill>
                <a:latin typeface="Consolas" panose="020B0609020204030204" pitchFamily="49" charset="0"/>
              </a:rPr>
              <a:t>);</a:t>
            </a:r>
          </a:p>
          <a:p>
            <a:pPr marL="0" indent="0">
              <a:buNone/>
            </a:pPr>
            <a:r>
              <a:rPr lang="en-US" dirty="0">
                <a:solidFill>
                  <a:srgbClr val="D4D4D4"/>
                </a:solidFill>
                <a:latin typeface="Consolas" panose="020B0609020204030204" pitchFamily="49" charset="0"/>
              </a:rPr>
              <a:t>});</a:t>
            </a:r>
          </a:p>
          <a:p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24692649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sole Bot: run</a:t>
            </a:r>
            <a:endParaRPr lang="uk-UA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Run bot</a:t>
            </a:r>
          </a:p>
          <a:p>
            <a:pPr lvl="1"/>
            <a:r>
              <a:rPr lang="en-US" dirty="0" smtClean="0"/>
              <a:t>node app.js</a:t>
            </a:r>
          </a:p>
          <a:p>
            <a:r>
              <a:rPr lang="en-US" dirty="0" smtClean="0"/>
              <a:t>Test bot</a:t>
            </a:r>
          </a:p>
          <a:p>
            <a:pPr lvl="1"/>
            <a:r>
              <a:rPr lang="en-US" dirty="0" smtClean="0"/>
              <a:t>Type any message and press enter</a:t>
            </a:r>
          </a:p>
        </p:txBody>
      </p:sp>
    </p:spTree>
    <p:extLst>
      <p:ext uri="{BB962C8B-B14F-4D97-AF65-F5344CB8AC3E}">
        <p14:creationId xmlns:p14="http://schemas.microsoft.com/office/powerpoint/2010/main" val="200516757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ush changes</a:t>
            </a:r>
            <a:endParaRPr lang="uk-UA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From command line:</a:t>
            </a:r>
          </a:p>
          <a:p>
            <a:pPr lvl="1"/>
            <a:r>
              <a:rPr lang="en-US" dirty="0" err="1" smtClean="0"/>
              <a:t>git</a:t>
            </a:r>
            <a:r>
              <a:rPr lang="en-US" dirty="0" smtClean="0"/>
              <a:t> add *</a:t>
            </a:r>
          </a:p>
          <a:p>
            <a:pPr lvl="1"/>
            <a:r>
              <a:rPr lang="en-US" dirty="0" err="1" smtClean="0"/>
              <a:t>git</a:t>
            </a:r>
            <a:r>
              <a:rPr lang="en-US" dirty="0"/>
              <a:t> commit -m </a:t>
            </a:r>
            <a:r>
              <a:rPr lang="en-US" dirty="0" smtClean="0"/>
              <a:t>“commit message“</a:t>
            </a:r>
          </a:p>
          <a:p>
            <a:pPr lvl="1"/>
            <a:r>
              <a:rPr lang="en-US" dirty="0" err="1" smtClean="0"/>
              <a:t>git</a:t>
            </a:r>
            <a:r>
              <a:rPr lang="en-US" dirty="0" smtClean="0"/>
              <a:t> push</a:t>
            </a:r>
          </a:p>
          <a:p>
            <a:r>
              <a:rPr lang="en-US" dirty="0" smtClean="0"/>
              <a:t>From UI</a:t>
            </a:r>
            <a:endParaRPr lang="uk-UA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83974" y="1996013"/>
            <a:ext cx="3966701" cy="24142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574986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cho bot</a:t>
            </a:r>
            <a:endParaRPr lang="uk-UA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Install </a:t>
            </a:r>
            <a:r>
              <a:rPr lang="en-US" dirty="0" err="1" smtClean="0"/>
              <a:t>Restify</a:t>
            </a:r>
            <a:endParaRPr lang="en-US" dirty="0" smtClean="0"/>
          </a:p>
          <a:p>
            <a:pPr lvl="1"/>
            <a:r>
              <a:rPr lang="en-US" dirty="0" err="1"/>
              <a:t>npm</a:t>
            </a:r>
            <a:r>
              <a:rPr lang="en-US" dirty="0"/>
              <a:t> </a:t>
            </a:r>
            <a:r>
              <a:rPr lang="en-US" dirty="0" err="1" smtClean="0"/>
              <a:t>i</a:t>
            </a:r>
            <a:r>
              <a:rPr lang="en-US" dirty="0" smtClean="0"/>
              <a:t> </a:t>
            </a:r>
            <a:r>
              <a:rPr lang="en-US" dirty="0"/>
              <a:t>--save </a:t>
            </a:r>
            <a:r>
              <a:rPr lang="en-US" dirty="0" err="1" smtClean="0"/>
              <a:t>restify</a:t>
            </a:r>
            <a:endParaRPr lang="en-US" dirty="0" smtClean="0"/>
          </a:p>
          <a:p>
            <a:r>
              <a:rPr lang="en-US" dirty="0" smtClean="0"/>
              <a:t>Modify app.js:</a:t>
            </a:r>
          </a:p>
          <a:p>
            <a:pPr lvl="1"/>
            <a:r>
              <a:rPr lang="en-US" dirty="0" smtClean="0"/>
              <a:t>Require ‘</a:t>
            </a:r>
            <a:r>
              <a:rPr lang="en-US" dirty="0" err="1" smtClean="0"/>
              <a:t>restify</a:t>
            </a:r>
            <a:r>
              <a:rPr lang="en-US" dirty="0" smtClean="0"/>
              <a:t>’ module</a:t>
            </a:r>
          </a:p>
          <a:p>
            <a:pPr lvl="1"/>
            <a:r>
              <a:rPr lang="en-US" dirty="0" smtClean="0"/>
              <a:t>Change ‘</a:t>
            </a:r>
            <a:r>
              <a:rPr lang="en-US" dirty="0" err="1" smtClean="0"/>
              <a:t>ConsoleConnector</a:t>
            </a:r>
            <a:r>
              <a:rPr lang="en-US" dirty="0" smtClean="0"/>
              <a:t>’ to </a:t>
            </a:r>
            <a:r>
              <a:rPr lang="en-US" dirty="0" err="1" smtClean="0"/>
              <a:t>ChatConnector</a:t>
            </a:r>
            <a:endParaRPr lang="en-US" dirty="0" smtClean="0"/>
          </a:p>
          <a:p>
            <a:pPr lvl="1"/>
            <a:r>
              <a:rPr lang="en-US" dirty="0"/>
              <a:t>Add Microsoft App ID and App </a:t>
            </a:r>
            <a:r>
              <a:rPr lang="en-US" dirty="0" err="1" smtClean="0"/>
              <a:t>Passwrd</a:t>
            </a:r>
            <a:r>
              <a:rPr lang="en-US" dirty="0" smtClean="0"/>
              <a:t>.</a:t>
            </a:r>
          </a:p>
          <a:p>
            <a:pPr lvl="1"/>
            <a:r>
              <a:rPr lang="en-US" dirty="0"/>
              <a:t>Have the connector listen on an API endpoint.</a:t>
            </a:r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52950266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cho Bot: app.js</a:t>
            </a:r>
            <a:endParaRPr lang="uk-UA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6076" y="816692"/>
            <a:ext cx="7499248" cy="374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993359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cho Bot: run</a:t>
            </a:r>
            <a:endParaRPr lang="uk-UA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Run bot</a:t>
            </a:r>
          </a:p>
          <a:p>
            <a:pPr lvl="1"/>
            <a:r>
              <a:rPr lang="en-US" dirty="0" smtClean="0"/>
              <a:t>node app.js</a:t>
            </a:r>
          </a:p>
          <a:p>
            <a:r>
              <a:rPr lang="en-US" dirty="0" smtClean="0"/>
              <a:t>Run </a:t>
            </a:r>
            <a:r>
              <a:rPr lang="en-US" dirty="0" err="1" smtClean="0"/>
              <a:t>botframework</a:t>
            </a:r>
            <a:r>
              <a:rPr lang="en-US" dirty="0" smtClean="0"/>
              <a:t>-emulator</a:t>
            </a:r>
          </a:p>
          <a:p>
            <a:r>
              <a:rPr lang="en-US" dirty="0" smtClean="0"/>
              <a:t>Connect to the bot</a:t>
            </a:r>
          </a:p>
          <a:p>
            <a:pPr lvl="1"/>
            <a:r>
              <a:rPr lang="en-US" dirty="0" smtClean="0">
                <a:hlinkClick r:id="rId2"/>
              </a:rPr>
              <a:t>http://localhost:port-number/api/messages</a:t>
            </a:r>
            <a:endParaRPr lang="en-US" dirty="0" smtClean="0"/>
          </a:p>
          <a:p>
            <a:r>
              <a:rPr lang="en-US" dirty="0" smtClean="0"/>
              <a:t>Chat with the bot</a:t>
            </a:r>
          </a:p>
          <a:p>
            <a:endParaRPr lang="uk-UA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09767" y="2560639"/>
            <a:ext cx="4123939" cy="19063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203683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 Memory Storage</a:t>
            </a:r>
            <a:endParaRPr lang="uk-UA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Add storage for sessions.</a:t>
            </a:r>
            <a:endParaRPr lang="ru-RU" dirty="0" smtClean="0"/>
          </a:p>
          <a:p>
            <a:pPr lvl="1"/>
            <a:r>
              <a:rPr lang="en-US" dirty="0" err="1"/>
              <a:t>const</a:t>
            </a:r>
            <a:r>
              <a:rPr lang="en-US" dirty="0"/>
              <a:t> </a:t>
            </a:r>
            <a:r>
              <a:rPr lang="en-US" dirty="0" err="1"/>
              <a:t>inMemoryStorage</a:t>
            </a:r>
            <a:r>
              <a:rPr lang="en-US" dirty="0"/>
              <a:t> = new </a:t>
            </a:r>
            <a:r>
              <a:rPr lang="en-US" dirty="0" err="1"/>
              <a:t>builder.MemoryBotStorage</a:t>
            </a:r>
            <a:r>
              <a:rPr lang="en-US" dirty="0" smtClean="0"/>
              <a:t>();</a:t>
            </a:r>
            <a:endParaRPr lang="ru-RU" dirty="0" smtClean="0"/>
          </a:p>
          <a:p>
            <a:pPr lvl="1"/>
            <a:r>
              <a:rPr lang="en-US" dirty="0" smtClean="0"/>
              <a:t>…</a:t>
            </a:r>
            <a:endParaRPr lang="en-US" dirty="0"/>
          </a:p>
          <a:p>
            <a:pPr lvl="1"/>
            <a:r>
              <a:rPr lang="en-US" dirty="0" err="1"/>
              <a:t>var</a:t>
            </a:r>
            <a:r>
              <a:rPr lang="en-US" dirty="0"/>
              <a:t> bot = new </a:t>
            </a:r>
            <a:r>
              <a:rPr lang="en-US" dirty="0" err="1"/>
              <a:t>builder.UniversalBot</a:t>
            </a:r>
            <a:r>
              <a:rPr lang="en-US" dirty="0"/>
              <a:t>(connector, function (session) {</a:t>
            </a:r>
          </a:p>
          <a:p>
            <a:pPr lvl="1"/>
            <a:r>
              <a:rPr lang="en-US" dirty="0"/>
              <a:t>    </a:t>
            </a:r>
            <a:r>
              <a:rPr lang="en-US" dirty="0" err="1"/>
              <a:t>session.send</a:t>
            </a:r>
            <a:r>
              <a:rPr lang="en-US" dirty="0"/>
              <a:t>("You said: %s", </a:t>
            </a:r>
            <a:r>
              <a:rPr lang="en-US" dirty="0" err="1"/>
              <a:t>session.message.text</a:t>
            </a:r>
            <a:r>
              <a:rPr lang="en-US" dirty="0"/>
              <a:t>);</a:t>
            </a:r>
          </a:p>
          <a:p>
            <a:pPr lvl="1"/>
            <a:r>
              <a:rPr lang="en-US" dirty="0"/>
              <a:t>}).set('storage', </a:t>
            </a:r>
            <a:r>
              <a:rPr lang="en-US" dirty="0" err="1"/>
              <a:t>inMemoryStorage</a:t>
            </a:r>
            <a:r>
              <a:rPr lang="en-US" dirty="0" smtClean="0"/>
              <a:t>);</a:t>
            </a:r>
          </a:p>
          <a:p>
            <a:r>
              <a:rPr lang="en-US" dirty="0" smtClean="0"/>
              <a:t>Gulp</a:t>
            </a:r>
          </a:p>
          <a:p>
            <a:pPr lvl="1"/>
            <a:r>
              <a:rPr lang="en-US" dirty="0" err="1" smtClean="0"/>
              <a:t>npm</a:t>
            </a:r>
            <a:r>
              <a:rPr lang="en-US" dirty="0" smtClean="0"/>
              <a:t> </a:t>
            </a:r>
            <a:r>
              <a:rPr lang="en-US" dirty="0" err="1" smtClean="0"/>
              <a:t>i</a:t>
            </a:r>
            <a:r>
              <a:rPr lang="en-US" dirty="0" smtClean="0"/>
              <a:t> –save gulp</a:t>
            </a:r>
          </a:p>
          <a:p>
            <a:pPr lvl="1"/>
            <a:r>
              <a:rPr lang="en-US" dirty="0" err="1"/>
              <a:t>npm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--save </a:t>
            </a:r>
            <a:r>
              <a:rPr lang="en-US" dirty="0" smtClean="0"/>
              <a:t>gulp-</a:t>
            </a:r>
            <a:r>
              <a:rPr lang="en-US" dirty="0" err="1" smtClean="0"/>
              <a:t>nodemon</a:t>
            </a:r>
            <a:endParaRPr lang="ru-RU" dirty="0" smtClean="0"/>
          </a:p>
          <a:p>
            <a:pPr lvl="1"/>
            <a:r>
              <a:rPr lang="en-US" dirty="0" smtClean="0"/>
              <a:t>add gulpfile.js</a:t>
            </a:r>
            <a:endParaRPr lang="uk-UA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68529" y="2327998"/>
            <a:ext cx="3520256" cy="2138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632512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18n</a:t>
            </a:r>
            <a:endParaRPr lang="uk-UA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i</a:t>
            </a:r>
            <a:r>
              <a:rPr lang="en-US" dirty="0" smtClean="0"/>
              <a:t>18n</a:t>
            </a:r>
          </a:p>
          <a:p>
            <a:pPr lvl="1"/>
            <a:r>
              <a:rPr lang="en-US" dirty="0" err="1"/>
              <a:t>npm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--save </a:t>
            </a:r>
            <a:r>
              <a:rPr lang="en-US" dirty="0" smtClean="0"/>
              <a:t>i18n</a:t>
            </a:r>
          </a:p>
          <a:p>
            <a:pPr lvl="1"/>
            <a:r>
              <a:rPr lang="en-US" dirty="0" smtClean="0"/>
              <a:t>App.js</a:t>
            </a:r>
          </a:p>
          <a:p>
            <a:pPr lvl="2"/>
            <a:r>
              <a:rPr lang="en-US" dirty="0" err="1"/>
              <a:t>var</a:t>
            </a:r>
            <a:r>
              <a:rPr lang="en-US" dirty="0"/>
              <a:t> i18n = require('i18n');</a:t>
            </a:r>
          </a:p>
          <a:p>
            <a:pPr lvl="2"/>
            <a:r>
              <a:rPr lang="en-US" dirty="0"/>
              <a:t>i18n.configure({</a:t>
            </a:r>
          </a:p>
          <a:p>
            <a:pPr lvl="2"/>
            <a:r>
              <a:rPr lang="en-US" dirty="0"/>
              <a:t>    </a:t>
            </a:r>
            <a:r>
              <a:rPr lang="en-US" dirty="0" err="1"/>
              <a:t>defaultLocale</a:t>
            </a:r>
            <a:r>
              <a:rPr lang="en-US" dirty="0"/>
              <a:t>: </a:t>
            </a:r>
            <a:r>
              <a:rPr lang="en-US" dirty="0" err="1"/>
              <a:t>process.env.DEFAULT_LOCALE</a:t>
            </a:r>
            <a:r>
              <a:rPr lang="en-US" dirty="0"/>
              <a:t> ? </a:t>
            </a:r>
            <a:r>
              <a:rPr lang="en-US" dirty="0" err="1"/>
              <a:t>process.env.DEFAULT_LOCALE</a:t>
            </a:r>
            <a:r>
              <a:rPr lang="en-US" dirty="0"/>
              <a:t> : '</a:t>
            </a:r>
            <a:r>
              <a:rPr lang="en-US" dirty="0" err="1"/>
              <a:t>en</a:t>
            </a:r>
            <a:r>
              <a:rPr lang="en-US" dirty="0"/>
              <a:t>',</a:t>
            </a:r>
          </a:p>
          <a:p>
            <a:pPr lvl="2"/>
            <a:r>
              <a:rPr lang="en-US" dirty="0"/>
              <a:t>    directory: __</a:t>
            </a:r>
            <a:r>
              <a:rPr lang="en-US" dirty="0" err="1"/>
              <a:t>dirname</a:t>
            </a:r>
            <a:r>
              <a:rPr lang="en-US" dirty="0"/>
              <a:t> + '/locales'</a:t>
            </a:r>
          </a:p>
          <a:p>
            <a:pPr lvl="2"/>
            <a:r>
              <a:rPr lang="en-US" dirty="0"/>
              <a:t>});</a:t>
            </a:r>
          </a:p>
          <a:p>
            <a:pPr lvl="1"/>
            <a:r>
              <a:rPr lang="en-US" dirty="0" smtClean="0"/>
              <a:t>locales/</a:t>
            </a:r>
            <a:r>
              <a:rPr lang="en-US" dirty="0" err="1" smtClean="0"/>
              <a:t>en.json</a:t>
            </a:r>
            <a:endParaRPr lang="en-US" dirty="0" smtClean="0"/>
          </a:p>
          <a:p>
            <a:pPr lvl="1"/>
            <a:r>
              <a:rPr lang="en-US" dirty="0" err="1" smtClean="0"/>
              <a:t>en.json</a:t>
            </a:r>
            <a:endParaRPr lang="en-US" dirty="0" smtClean="0"/>
          </a:p>
          <a:p>
            <a:pPr lvl="2"/>
            <a:r>
              <a:rPr lang="en-US" dirty="0"/>
              <a:t>{</a:t>
            </a:r>
          </a:p>
          <a:p>
            <a:pPr lvl="2"/>
            <a:r>
              <a:rPr lang="en-US" dirty="0"/>
              <a:t>	"greeting": "Hi! I'm your </a:t>
            </a:r>
            <a:r>
              <a:rPr lang="en-US" dirty="0" err="1"/>
              <a:t>chatbot</a:t>
            </a:r>
            <a:r>
              <a:rPr lang="en-US" dirty="0"/>
              <a:t>."</a:t>
            </a:r>
          </a:p>
          <a:p>
            <a:pPr lvl="2"/>
            <a:r>
              <a:rPr lang="en-US" dirty="0"/>
              <a:t>}</a:t>
            </a:r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25615944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reeting</a:t>
            </a:r>
            <a:endParaRPr lang="uk-UA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Add parse-inquire.js</a:t>
            </a:r>
          </a:p>
          <a:p>
            <a:r>
              <a:rPr lang="en-US" dirty="0" smtClean="0"/>
              <a:t>Modify app.js</a:t>
            </a:r>
          </a:p>
          <a:p>
            <a:pPr lvl="1"/>
            <a:r>
              <a:rPr lang="en-US" dirty="0" err="1"/>
              <a:t>var</a:t>
            </a:r>
            <a:r>
              <a:rPr lang="en-US" dirty="0"/>
              <a:t> parser = require('./parse-inquire</a:t>
            </a:r>
            <a:r>
              <a:rPr lang="en-US" dirty="0" smtClean="0"/>
              <a:t>');</a:t>
            </a:r>
            <a:endParaRPr lang="ru-RU" dirty="0" smtClean="0"/>
          </a:p>
          <a:p>
            <a:pPr lvl="1"/>
            <a:r>
              <a:rPr lang="en-US" dirty="0" smtClean="0"/>
              <a:t>…</a:t>
            </a:r>
            <a:endParaRPr lang="en-US" dirty="0"/>
          </a:p>
          <a:p>
            <a:pPr lvl="1"/>
            <a:r>
              <a:rPr lang="en-US" dirty="0" err="1"/>
              <a:t>var</a:t>
            </a:r>
            <a:r>
              <a:rPr lang="en-US" dirty="0"/>
              <a:t> bot = new </a:t>
            </a:r>
            <a:r>
              <a:rPr lang="en-US" dirty="0" err="1"/>
              <a:t>builder.UniversalBot</a:t>
            </a:r>
            <a:r>
              <a:rPr lang="en-US" dirty="0"/>
              <a:t>(connector, function (session) {</a:t>
            </a:r>
          </a:p>
          <a:p>
            <a:pPr lvl="1"/>
            <a:r>
              <a:rPr lang="en-US" dirty="0"/>
              <a:t>    </a:t>
            </a:r>
            <a:r>
              <a:rPr lang="en-US" dirty="0" err="1"/>
              <a:t>session.userData.profile</a:t>
            </a:r>
            <a:r>
              <a:rPr lang="en-US" dirty="0"/>
              <a:t> = </a:t>
            </a:r>
            <a:r>
              <a:rPr lang="en-US" dirty="0" err="1"/>
              <a:t>parser.ParseInquire</a:t>
            </a:r>
            <a:r>
              <a:rPr lang="en-US" dirty="0"/>
              <a:t>(</a:t>
            </a:r>
            <a:r>
              <a:rPr lang="en-US" dirty="0" err="1"/>
              <a:t>session.message.text</a:t>
            </a:r>
            <a:r>
              <a:rPr lang="en-US" dirty="0"/>
              <a:t>);</a:t>
            </a:r>
          </a:p>
          <a:p>
            <a:pPr lvl="1"/>
            <a:r>
              <a:rPr lang="en-US" dirty="0"/>
              <a:t>    if (</a:t>
            </a:r>
            <a:r>
              <a:rPr lang="en-US" dirty="0" err="1"/>
              <a:t>session.userData.profile.greeting</a:t>
            </a:r>
            <a:r>
              <a:rPr lang="en-US" dirty="0"/>
              <a:t>) {</a:t>
            </a:r>
          </a:p>
          <a:p>
            <a:pPr lvl="1"/>
            <a:r>
              <a:rPr lang="en-US" dirty="0"/>
              <a:t>        </a:t>
            </a:r>
            <a:r>
              <a:rPr lang="en-US" dirty="0" err="1"/>
              <a:t>session.send</a:t>
            </a:r>
            <a:r>
              <a:rPr lang="en-US" dirty="0"/>
              <a:t>(i18n.__("greeting"));</a:t>
            </a:r>
          </a:p>
          <a:p>
            <a:pPr lvl="1"/>
            <a:r>
              <a:rPr lang="en-US" dirty="0"/>
              <a:t>    }</a:t>
            </a:r>
          </a:p>
          <a:p>
            <a:pPr lvl="1"/>
            <a:r>
              <a:rPr lang="en-US" dirty="0"/>
              <a:t>    else {</a:t>
            </a:r>
          </a:p>
          <a:p>
            <a:pPr lvl="1"/>
            <a:r>
              <a:rPr lang="en-US" dirty="0"/>
              <a:t>        </a:t>
            </a:r>
            <a:r>
              <a:rPr lang="en-US" dirty="0" err="1"/>
              <a:t>session.send</a:t>
            </a:r>
            <a:r>
              <a:rPr lang="en-US" dirty="0"/>
              <a:t>("You said: %s", </a:t>
            </a:r>
            <a:r>
              <a:rPr lang="en-US" dirty="0" err="1"/>
              <a:t>session.message.text</a:t>
            </a:r>
            <a:r>
              <a:rPr lang="en-US" dirty="0"/>
              <a:t>);</a:t>
            </a:r>
          </a:p>
          <a:p>
            <a:pPr lvl="1"/>
            <a:r>
              <a:rPr lang="en-US" dirty="0"/>
              <a:t>    }</a:t>
            </a:r>
          </a:p>
          <a:p>
            <a:pPr lvl="1"/>
            <a:r>
              <a:rPr lang="en-US" dirty="0"/>
              <a:t>}).set('storage', </a:t>
            </a:r>
            <a:r>
              <a:rPr lang="en-US" dirty="0" err="1"/>
              <a:t>inMemoryStorage</a:t>
            </a:r>
            <a:r>
              <a:rPr lang="en-US" dirty="0"/>
              <a:t>);</a:t>
            </a:r>
          </a:p>
          <a:p>
            <a:pPr lvl="1"/>
            <a:endParaRPr lang="uk-UA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73112" y="123703"/>
            <a:ext cx="3916926" cy="15359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918712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mpt user input</a:t>
            </a:r>
            <a:endParaRPr lang="uk-UA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05060" y="456277"/>
            <a:ext cx="5538172" cy="39325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41288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tro</a:t>
            </a:r>
            <a:endParaRPr lang="uk-UA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Your previous experience with:</a:t>
            </a:r>
          </a:p>
          <a:p>
            <a:pPr lvl="1"/>
            <a:r>
              <a:rPr lang="en-US" dirty="0" smtClean="0"/>
              <a:t>Programming languages</a:t>
            </a:r>
          </a:p>
          <a:p>
            <a:pPr lvl="1"/>
            <a:r>
              <a:rPr lang="en-US" dirty="0" smtClean="0"/>
              <a:t>VCS</a:t>
            </a:r>
          </a:p>
          <a:p>
            <a:pPr lvl="1"/>
            <a:r>
              <a:rPr lang="en-US" dirty="0" smtClean="0"/>
              <a:t>Bot frameworks</a:t>
            </a:r>
          </a:p>
          <a:p>
            <a:pPr lvl="1"/>
            <a:r>
              <a:rPr lang="en-US" dirty="0" smtClean="0"/>
              <a:t>Azure or other cloud</a:t>
            </a:r>
          </a:p>
          <a:p>
            <a:r>
              <a:rPr lang="en-US" dirty="0" smtClean="0"/>
              <a:t>Your expectations</a:t>
            </a:r>
          </a:p>
          <a:p>
            <a:pPr lvl="1"/>
            <a:r>
              <a:rPr lang="en-US" dirty="0" smtClean="0"/>
              <a:t>What do you want to know?</a:t>
            </a:r>
          </a:p>
          <a:p>
            <a:pPr lvl="1"/>
            <a:r>
              <a:rPr lang="en-US" dirty="0" smtClean="0"/>
              <a:t>What makes you boring?</a:t>
            </a:r>
          </a:p>
        </p:txBody>
      </p:sp>
    </p:spTree>
    <p:extLst>
      <p:ext uri="{BB962C8B-B14F-4D97-AF65-F5344CB8AC3E}">
        <p14:creationId xmlns:p14="http://schemas.microsoft.com/office/powerpoint/2010/main" val="181609972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versation flow</a:t>
            </a:r>
            <a:endParaRPr lang="uk-UA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Manage conversation flow:</a:t>
            </a:r>
          </a:p>
          <a:p>
            <a:pPr lvl="1"/>
            <a:r>
              <a:rPr lang="en-US" dirty="0">
                <a:hlinkClick r:id="rId2"/>
              </a:rPr>
              <a:t>https://</a:t>
            </a:r>
            <a:r>
              <a:rPr lang="en-US" dirty="0" smtClean="0">
                <a:hlinkClick r:id="rId2"/>
              </a:rPr>
              <a:t>docs.microsoft.com/en-us/azure/bot-service/nodejs/bot-builder-nodejs-dialog-manage-conversation-flow?view=azure-bot-service-3.0</a:t>
            </a:r>
            <a:endParaRPr lang="en-US" dirty="0" smtClean="0"/>
          </a:p>
          <a:p>
            <a:pPr lvl="1"/>
            <a:endParaRPr lang="uk-UA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54476" y="1794944"/>
            <a:ext cx="4613173" cy="2719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013560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mproved perception</a:t>
            </a:r>
            <a:endParaRPr lang="uk-UA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Modify parse-inquire.js</a:t>
            </a:r>
            <a:endParaRPr lang="uk-UA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79058" y="866064"/>
            <a:ext cx="5335844" cy="3600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311774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51" b="7851"/>
          <a:stretch/>
        </p:blipFill>
        <p:spPr bwMode="auto">
          <a:xfrm>
            <a:off x="0" y="0"/>
            <a:ext cx="9144000" cy="514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6"/>
          <p:cNvSpPr/>
          <p:nvPr/>
        </p:nvSpPr>
        <p:spPr>
          <a:xfrm>
            <a:off x="539750" y="1706400"/>
            <a:ext cx="2880000" cy="2880000"/>
          </a:xfrm>
          <a:prstGeom prst="rect">
            <a:avLst/>
          </a:prstGeom>
          <a:solidFill>
            <a:schemeClr val="bg2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tIns="54000" rIns="54000" bIns="54000" rtlCol="0" anchor="ctr"/>
          <a:lstStyle/>
          <a:p>
            <a:r>
              <a:rPr lang="en-US" sz="2600" dirty="0" smtClean="0"/>
              <a:t>Deploy</a:t>
            </a:r>
            <a:endParaRPr lang="uk-UA" sz="2600" dirty="0">
              <a:solidFill>
                <a:schemeClr val="bg1"/>
              </a:solidFill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7620000" y="4699891"/>
            <a:ext cx="1364159" cy="341218"/>
            <a:chOff x="611560" y="3553563"/>
            <a:chExt cx="5215086" cy="1304453"/>
          </a:xfrm>
          <a:solidFill>
            <a:schemeClr val="bg1"/>
          </a:solidFill>
        </p:grpSpPr>
        <p:sp>
          <p:nvSpPr>
            <p:cNvPr id="5" name="Freeform 192"/>
            <p:cNvSpPr>
              <a:spLocks/>
            </p:cNvSpPr>
            <p:nvPr/>
          </p:nvSpPr>
          <p:spPr bwMode="auto">
            <a:xfrm>
              <a:off x="611560" y="3566289"/>
              <a:ext cx="229984" cy="229983"/>
            </a:xfrm>
            <a:custGeom>
              <a:avLst/>
              <a:gdLst>
                <a:gd name="T0" fmla="*/ 253 w 253"/>
                <a:gd name="T1" fmla="*/ 126 h 253"/>
                <a:gd name="T2" fmla="*/ 251 w 253"/>
                <a:gd name="T3" fmla="*/ 152 h 253"/>
                <a:gd name="T4" fmla="*/ 244 w 253"/>
                <a:gd name="T5" fmla="*/ 175 h 253"/>
                <a:gd name="T6" fmla="*/ 232 w 253"/>
                <a:gd name="T7" fmla="*/ 197 h 253"/>
                <a:gd name="T8" fmla="*/ 216 w 253"/>
                <a:gd name="T9" fmla="*/ 216 h 253"/>
                <a:gd name="T10" fmla="*/ 198 w 253"/>
                <a:gd name="T11" fmla="*/ 232 h 253"/>
                <a:gd name="T12" fmla="*/ 177 w 253"/>
                <a:gd name="T13" fmla="*/ 243 h 253"/>
                <a:gd name="T14" fmla="*/ 152 w 253"/>
                <a:gd name="T15" fmla="*/ 250 h 253"/>
                <a:gd name="T16" fmla="*/ 128 w 253"/>
                <a:gd name="T17" fmla="*/ 253 h 253"/>
                <a:gd name="T18" fmla="*/ 114 w 253"/>
                <a:gd name="T19" fmla="*/ 253 h 253"/>
                <a:gd name="T20" fmla="*/ 89 w 253"/>
                <a:gd name="T21" fmla="*/ 247 h 253"/>
                <a:gd name="T22" fmla="*/ 67 w 253"/>
                <a:gd name="T23" fmla="*/ 238 h 253"/>
                <a:gd name="T24" fmla="*/ 46 w 253"/>
                <a:gd name="T25" fmla="*/ 225 h 253"/>
                <a:gd name="T26" fmla="*/ 30 w 253"/>
                <a:gd name="T27" fmla="*/ 207 h 253"/>
                <a:gd name="T28" fmla="*/ 15 w 253"/>
                <a:gd name="T29" fmla="*/ 186 h 253"/>
                <a:gd name="T30" fmla="*/ 7 w 253"/>
                <a:gd name="T31" fmla="*/ 164 h 253"/>
                <a:gd name="T32" fmla="*/ 2 w 253"/>
                <a:gd name="T33" fmla="*/ 139 h 253"/>
                <a:gd name="T34" fmla="*/ 0 w 253"/>
                <a:gd name="T35" fmla="*/ 126 h 253"/>
                <a:gd name="T36" fmla="*/ 3 w 253"/>
                <a:gd name="T37" fmla="*/ 101 h 253"/>
                <a:gd name="T38" fmla="*/ 10 w 253"/>
                <a:gd name="T39" fmla="*/ 78 h 253"/>
                <a:gd name="T40" fmla="*/ 23 w 253"/>
                <a:gd name="T41" fmla="*/ 55 h 253"/>
                <a:gd name="T42" fmla="*/ 37 w 253"/>
                <a:gd name="T43" fmla="*/ 37 h 253"/>
                <a:gd name="T44" fmla="*/ 56 w 253"/>
                <a:gd name="T45" fmla="*/ 21 h 253"/>
                <a:gd name="T46" fmla="*/ 78 w 253"/>
                <a:gd name="T47" fmla="*/ 10 h 253"/>
                <a:gd name="T48" fmla="*/ 102 w 253"/>
                <a:gd name="T49" fmla="*/ 2 h 253"/>
                <a:gd name="T50" fmla="*/ 128 w 253"/>
                <a:gd name="T51" fmla="*/ 0 h 253"/>
                <a:gd name="T52" fmla="*/ 140 w 253"/>
                <a:gd name="T53" fmla="*/ 0 h 253"/>
                <a:gd name="T54" fmla="*/ 165 w 253"/>
                <a:gd name="T55" fmla="*/ 5 h 253"/>
                <a:gd name="T56" fmla="*/ 188 w 253"/>
                <a:gd name="T57" fmla="*/ 15 h 253"/>
                <a:gd name="T58" fmla="*/ 208 w 253"/>
                <a:gd name="T59" fmla="*/ 28 h 253"/>
                <a:gd name="T60" fmla="*/ 225 w 253"/>
                <a:gd name="T61" fmla="*/ 46 h 253"/>
                <a:gd name="T62" fmla="*/ 239 w 253"/>
                <a:gd name="T63" fmla="*/ 67 h 253"/>
                <a:gd name="T64" fmla="*/ 249 w 253"/>
                <a:gd name="T65" fmla="*/ 89 h 253"/>
                <a:gd name="T66" fmla="*/ 253 w 253"/>
                <a:gd name="T67" fmla="*/ 113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53" h="253">
                  <a:moveTo>
                    <a:pt x="253" y="126"/>
                  </a:moveTo>
                  <a:lnTo>
                    <a:pt x="253" y="126"/>
                  </a:lnTo>
                  <a:lnTo>
                    <a:pt x="253" y="139"/>
                  </a:lnTo>
                  <a:lnTo>
                    <a:pt x="251" y="152"/>
                  </a:lnTo>
                  <a:lnTo>
                    <a:pt x="249" y="164"/>
                  </a:lnTo>
                  <a:lnTo>
                    <a:pt x="244" y="175"/>
                  </a:lnTo>
                  <a:lnTo>
                    <a:pt x="239" y="186"/>
                  </a:lnTo>
                  <a:lnTo>
                    <a:pt x="232" y="197"/>
                  </a:lnTo>
                  <a:lnTo>
                    <a:pt x="225" y="207"/>
                  </a:lnTo>
                  <a:lnTo>
                    <a:pt x="216" y="216"/>
                  </a:lnTo>
                  <a:lnTo>
                    <a:pt x="208" y="225"/>
                  </a:lnTo>
                  <a:lnTo>
                    <a:pt x="198" y="232"/>
                  </a:lnTo>
                  <a:lnTo>
                    <a:pt x="188" y="238"/>
                  </a:lnTo>
                  <a:lnTo>
                    <a:pt x="177" y="243"/>
                  </a:lnTo>
                  <a:lnTo>
                    <a:pt x="165" y="247"/>
                  </a:lnTo>
                  <a:lnTo>
                    <a:pt x="152" y="250"/>
                  </a:lnTo>
                  <a:lnTo>
                    <a:pt x="140" y="253"/>
                  </a:lnTo>
                  <a:lnTo>
                    <a:pt x="128" y="253"/>
                  </a:lnTo>
                  <a:lnTo>
                    <a:pt x="128" y="253"/>
                  </a:lnTo>
                  <a:lnTo>
                    <a:pt x="114" y="253"/>
                  </a:lnTo>
                  <a:lnTo>
                    <a:pt x="102" y="250"/>
                  </a:lnTo>
                  <a:lnTo>
                    <a:pt x="89" y="247"/>
                  </a:lnTo>
                  <a:lnTo>
                    <a:pt x="78" y="243"/>
                  </a:lnTo>
                  <a:lnTo>
                    <a:pt x="67" y="238"/>
                  </a:lnTo>
                  <a:lnTo>
                    <a:pt x="56" y="232"/>
                  </a:lnTo>
                  <a:lnTo>
                    <a:pt x="46" y="225"/>
                  </a:lnTo>
                  <a:lnTo>
                    <a:pt x="37" y="216"/>
                  </a:lnTo>
                  <a:lnTo>
                    <a:pt x="30" y="207"/>
                  </a:lnTo>
                  <a:lnTo>
                    <a:pt x="23" y="197"/>
                  </a:lnTo>
                  <a:lnTo>
                    <a:pt x="15" y="186"/>
                  </a:lnTo>
                  <a:lnTo>
                    <a:pt x="10" y="175"/>
                  </a:lnTo>
                  <a:lnTo>
                    <a:pt x="7" y="164"/>
                  </a:lnTo>
                  <a:lnTo>
                    <a:pt x="3" y="152"/>
                  </a:lnTo>
                  <a:lnTo>
                    <a:pt x="2" y="139"/>
                  </a:lnTo>
                  <a:lnTo>
                    <a:pt x="0" y="126"/>
                  </a:lnTo>
                  <a:lnTo>
                    <a:pt x="0" y="126"/>
                  </a:lnTo>
                  <a:lnTo>
                    <a:pt x="2" y="113"/>
                  </a:lnTo>
                  <a:lnTo>
                    <a:pt x="3" y="101"/>
                  </a:lnTo>
                  <a:lnTo>
                    <a:pt x="7" y="89"/>
                  </a:lnTo>
                  <a:lnTo>
                    <a:pt x="10" y="78"/>
                  </a:lnTo>
                  <a:lnTo>
                    <a:pt x="15" y="67"/>
                  </a:lnTo>
                  <a:lnTo>
                    <a:pt x="23" y="55"/>
                  </a:lnTo>
                  <a:lnTo>
                    <a:pt x="30" y="46"/>
                  </a:lnTo>
                  <a:lnTo>
                    <a:pt x="37" y="37"/>
                  </a:lnTo>
                  <a:lnTo>
                    <a:pt x="46" y="28"/>
                  </a:lnTo>
                  <a:lnTo>
                    <a:pt x="56" y="21"/>
                  </a:lnTo>
                  <a:lnTo>
                    <a:pt x="67" y="15"/>
                  </a:lnTo>
                  <a:lnTo>
                    <a:pt x="78" y="10"/>
                  </a:lnTo>
                  <a:lnTo>
                    <a:pt x="89" y="5"/>
                  </a:lnTo>
                  <a:lnTo>
                    <a:pt x="102" y="2"/>
                  </a:lnTo>
                  <a:lnTo>
                    <a:pt x="114" y="0"/>
                  </a:lnTo>
                  <a:lnTo>
                    <a:pt x="128" y="0"/>
                  </a:lnTo>
                  <a:lnTo>
                    <a:pt x="128" y="0"/>
                  </a:lnTo>
                  <a:lnTo>
                    <a:pt x="140" y="0"/>
                  </a:lnTo>
                  <a:lnTo>
                    <a:pt x="152" y="2"/>
                  </a:lnTo>
                  <a:lnTo>
                    <a:pt x="165" y="5"/>
                  </a:lnTo>
                  <a:lnTo>
                    <a:pt x="177" y="10"/>
                  </a:lnTo>
                  <a:lnTo>
                    <a:pt x="188" y="15"/>
                  </a:lnTo>
                  <a:lnTo>
                    <a:pt x="198" y="21"/>
                  </a:lnTo>
                  <a:lnTo>
                    <a:pt x="208" y="28"/>
                  </a:lnTo>
                  <a:lnTo>
                    <a:pt x="216" y="37"/>
                  </a:lnTo>
                  <a:lnTo>
                    <a:pt x="225" y="46"/>
                  </a:lnTo>
                  <a:lnTo>
                    <a:pt x="232" y="55"/>
                  </a:lnTo>
                  <a:lnTo>
                    <a:pt x="239" y="67"/>
                  </a:lnTo>
                  <a:lnTo>
                    <a:pt x="244" y="78"/>
                  </a:lnTo>
                  <a:lnTo>
                    <a:pt x="249" y="89"/>
                  </a:lnTo>
                  <a:lnTo>
                    <a:pt x="251" y="101"/>
                  </a:lnTo>
                  <a:lnTo>
                    <a:pt x="253" y="113"/>
                  </a:lnTo>
                  <a:lnTo>
                    <a:pt x="253" y="1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dirty="0"/>
            </a:p>
          </p:txBody>
        </p:sp>
        <p:sp>
          <p:nvSpPr>
            <p:cNvPr id="6" name="Freeform 194"/>
            <p:cNvSpPr>
              <a:spLocks/>
            </p:cNvSpPr>
            <p:nvPr/>
          </p:nvSpPr>
          <p:spPr bwMode="auto">
            <a:xfrm>
              <a:off x="1004260" y="3872631"/>
              <a:ext cx="557234" cy="689951"/>
            </a:xfrm>
            <a:custGeom>
              <a:avLst/>
              <a:gdLst>
                <a:gd name="T0" fmla="*/ 587 w 613"/>
                <a:gd name="T1" fmla="*/ 590 h 759"/>
                <a:gd name="T2" fmla="*/ 590 w 613"/>
                <a:gd name="T3" fmla="*/ 651 h 759"/>
                <a:gd name="T4" fmla="*/ 601 w 613"/>
                <a:gd name="T5" fmla="*/ 700 h 759"/>
                <a:gd name="T6" fmla="*/ 613 w 613"/>
                <a:gd name="T7" fmla="*/ 726 h 759"/>
                <a:gd name="T8" fmla="*/ 582 w 613"/>
                <a:gd name="T9" fmla="*/ 747 h 759"/>
                <a:gd name="T10" fmla="*/ 546 w 613"/>
                <a:gd name="T11" fmla="*/ 757 h 759"/>
                <a:gd name="T12" fmla="*/ 521 w 613"/>
                <a:gd name="T13" fmla="*/ 759 h 759"/>
                <a:gd name="T14" fmla="*/ 488 w 613"/>
                <a:gd name="T15" fmla="*/ 756 h 759"/>
                <a:gd name="T16" fmla="*/ 463 w 613"/>
                <a:gd name="T17" fmla="*/ 746 h 759"/>
                <a:gd name="T18" fmla="*/ 452 w 613"/>
                <a:gd name="T19" fmla="*/ 735 h 759"/>
                <a:gd name="T20" fmla="*/ 440 w 613"/>
                <a:gd name="T21" fmla="*/ 714 h 759"/>
                <a:gd name="T22" fmla="*/ 434 w 613"/>
                <a:gd name="T23" fmla="*/ 662 h 759"/>
                <a:gd name="T24" fmla="*/ 432 w 613"/>
                <a:gd name="T25" fmla="*/ 247 h 759"/>
                <a:gd name="T26" fmla="*/ 425 w 613"/>
                <a:gd name="T27" fmla="*/ 204 h 759"/>
                <a:gd name="T28" fmla="*/ 413 w 613"/>
                <a:gd name="T29" fmla="*/ 173 h 759"/>
                <a:gd name="T30" fmla="*/ 402 w 613"/>
                <a:gd name="T31" fmla="*/ 158 h 759"/>
                <a:gd name="T32" fmla="*/ 377 w 613"/>
                <a:gd name="T33" fmla="*/ 144 h 759"/>
                <a:gd name="T34" fmla="*/ 344 w 613"/>
                <a:gd name="T35" fmla="*/ 139 h 759"/>
                <a:gd name="T36" fmla="*/ 294 w 613"/>
                <a:gd name="T37" fmla="*/ 146 h 759"/>
                <a:gd name="T38" fmla="*/ 242 w 613"/>
                <a:gd name="T39" fmla="*/ 164 h 759"/>
                <a:gd name="T40" fmla="*/ 173 w 613"/>
                <a:gd name="T41" fmla="*/ 211 h 759"/>
                <a:gd name="T42" fmla="*/ 152 w 613"/>
                <a:gd name="T43" fmla="*/ 748 h 759"/>
                <a:gd name="T44" fmla="*/ 100 w 613"/>
                <a:gd name="T45" fmla="*/ 754 h 759"/>
                <a:gd name="T46" fmla="*/ 55 w 613"/>
                <a:gd name="T47" fmla="*/ 753 h 759"/>
                <a:gd name="T48" fmla="*/ 15 w 613"/>
                <a:gd name="T49" fmla="*/ 751 h 759"/>
                <a:gd name="T50" fmla="*/ 9 w 613"/>
                <a:gd name="T51" fmla="*/ 9 h 759"/>
                <a:gd name="T52" fmla="*/ 77 w 613"/>
                <a:gd name="T53" fmla="*/ 9 h 759"/>
                <a:gd name="T54" fmla="*/ 102 w 613"/>
                <a:gd name="T55" fmla="*/ 14 h 759"/>
                <a:gd name="T56" fmla="*/ 123 w 613"/>
                <a:gd name="T57" fmla="*/ 26 h 759"/>
                <a:gd name="T58" fmla="*/ 137 w 613"/>
                <a:gd name="T59" fmla="*/ 44 h 759"/>
                <a:gd name="T60" fmla="*/ 147 w 613"/>
                <a:gd name="T61" fmla="*/ 69 h 759"/>
                <a:gd name="T62" fmla="*/ 152 w 613"/>
                <a:gd name="T63" fmla="*/ 100 h 759"/>
                <a:gd name="T64" fmla="*/ 221 w 613"/>
                <a:gd name="T65" fmla="*/ 47 h 759"/>
                <a:gd name="T66" fmla="*/ 266 w 613"/>
                <a:gd name="T67" fmla="*/ 25 h 759"/>
                <a:gd name="T68" fmla="*/ 310 w 613"/>
                <a:gd name="T69" fmla="*/ 10 h 759"/>
                <a:gd name="T70" fmla="*/ 357 w 613"/>
                <a:gd name="T71" fmla="*/ 2 h 759"/>
                <a:gd name="T72" fmla="*/ 389 w 613"/>
                <a:gd name="T73" fmla="*/ 0 h 759"/>
                <a:gd name="T74" fmla="*/ 457 w 613"/>
                <a:gd name="T75" fmla="*/ 10 h 759"/>
                <a:gd name="T76" fmla="*/ 510 w 613"/>
                <a:gd name="T77" fmla="*/ 37 h 759"/>
                <a:gd name="T78" fmla="*/ 537 w 613"/>
                <a:gd name="T79" fmla="*/ 67 h 759"/>
                <a:gd name="T80" fmla="*/ 568 w 613"/>
                <a:gd name="T81" fmla="*/ 122 h 759"/>
                <a:gd name="T82" fmla="*/ 584 w 613"/>
                <a:gd name="T83" fmla="*/ 191 h 7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13" h="759">
                  <a:moveTo>
                    <a:pt x="587" y="244"/>
                  </a:moveTo>
                  <a:lnTo>
                    <a:pt x="587" y="590"/>
                  </a:lnTo>
                  <a:lnTo>
                    <a:pt x="587" y="590"/>
                  </a:lnTo>
                  <a:lnTo>
                    <a:pt x="588" y="612"/>
                  </a:lnTo>
                  <a:lnTo>
                    <a:pt x="589" y="632"/>
                  </a:lnTo>
                  <a:lnTo>
                    <a:pt x="590" y="651"/>
                  </a:lnTo>
                  <a:lnTo>
                    <a:pt x="594" y="669"/>
                  </a:lnTo>
                  <a:lnTo>
                    <a:pt x="597" y="685"/>
                  </a:lnTo>
                  <a:lnTo>
                    <a:pt x="601" y="700"/>
                  </a:lnTo>
                  <a:lnTo>
                    <a:pt x="606" y="714"/>
                  </a:lnTo>
                  <a:lnTo>
                    <a:pt x="613" y="726"/>
                  </a:lnTo>
                  <a:lnTo>
                    <a:pt x="613" y="726"/>
                  </a:lnTo>
                  <a:lnTo>
                    <a:pt x="603" y="735"/>
                  </a:lnTo>
                  <a:lnTo>
                    <a:pt x="592" y="741"/>
                  </a:lnTo>
                  <a:lnTo>
                    <a:pt x="582" y="747"/>
                  </a:lnTo>
                  <a:lnTo>
                    <a:pt x="571" y="751"/>
                  </a:lnTo>
                  <a:lnTo>
                    <a:pt x="558" y="754"/>
                  </a:lnTo>
                  <a:lnTo>
                    <a:pt x="546" y="757"/>
                  </a:lnTo>
                  <a:lnTo>
                    <a:pt x="534" y="758"/>
                  </a:lnTo>
                  <a:lnTo>
                    <a:pt x="521" y="759"/>
                  </a:lnTo>
                  <a:lnTo>
                    <a:pt x="521" y="759"/>
                  </a:lnTo>
                  <a:lnTo>
                    <a:pt x="509" y="759"/>
                  </a:lnTo>
                  <a:lnTo>
                    <a:pt x="498" y="758"/>
                  </a:lnTo>
                  <a:lnTo>
                    <a:pt x="488" y="756"/>
                  </a:lnTo>
                  <a:lnTo>
                    <a:pt x="478" y="753"/>
                  </a:lnTo>
                  <a:lnTo>
                    <a:pt x="471" y="749"/>
                  </a:lnTo>
                  <a:lnTo>
                    <a:pt x="463" y="746"/>
                  </a:lnTo>
                  <a:lnTo>
                    <a:pt x="457" y="741"/>
                  </a:lnTo>
                  <a:lnTo>
                    <a:pt x="452" y="735"/>
                  </a:lnTo>
                  <a:lnTo>
                    <a:pt x="452" y="735"/>
                  </a:lnTo>
                  <a:lnTo>
                    <a:pt x="447" y="728"/>
                  </a:lnTo>
                  <a:lnTo>
                    <a:pt x="443" y="721"/>
                  </a:lnTo>
                  <a:lnTo>
                    <a:pt x="440" y="714"/>
                  </a:lnTo>
                  <a:lnTo>
                    <a:pt x="437" y="704"/>
                  </a:lnTo>
                  <a:lnTo>
                    <a:pt x="435" y="684"/>
                  </a:lnTo>
                  <a:lnTo>
                    <a:pt x="434" y="662"/>
                  </a:lnTo>
                  <a:lnTo>
                    <a:pt x="434" y="283"/>
                  </a:lnTo>
                  <a:lnTo>
                    <a:pt x="434" y="283"/>
                  </a:lnTo>
                  <a:lnTo>
                    <a:pt x="432" y="247"/>
                  </a:lnTo>
                  <a:lnTo>
                    <a:pt x="430" y="231"/>
                  </a:lnTo>
                  <a:lnTo>
                    <a:pt x="429" y="217"/>
                  </a:lnTo>
                  <a:lnTo>
                    <a:pt x="425" y="204"/>
                  </a:lnTo>
                  <a:lnTo>
                    <a:pt x="421" y="193"/>
                  </a:lnTo>
                  <a:lnTo>
                    <a:pt x="418" y="181"/>
                  </a:lnTo>
                  <a:lnTo>
                    <a:pt x="413" y="173"/>
                  </a:lnTo>
                  <a:lnTo>
                    <a:pt x="413" y="173"/>
                  </a:lnTo>
                  <a:lnTo>
                    <a:pt x="408" y="165"/>
                  </a:lnTo>
                  <a:lnTo>
                    <a:pt x="402" y="158"/>
                  </a:lnTo>
                  <a:lnTo>
                    <a:pt x="394" y="152"/>
                  </a:lnTo>
                  <a:lnTo>
                    <a:pt x="385" y="148"/>
                  </a:lnTo>
                  <a:lnTo>
                    <a:pt x="377" y="144"/>
                  </a:lnTo>
                  <a:lnTo>
                    <a:pt x="366" y="142"/>
                  </a:lnTo>
                  <a:lnTo>
                    <a:pt x="355" y="141"/>
                  </a:lnTo>
                  <a:lnTo>
                    <a:pt x="344" y="139"/>
                  </a:lnTo>
                  <a:lnTo>
                    <a:pt x="344" y="139"/>
                  </a:lnTo>
                  <a:lnTo>
                    <a:pt x="319" y="141"/>
                  </a:lnTo>
                  <a:lnTo>
                    <a:pt x="294" y="146"/>
                  </a:lnTo>
                  <a:lnTo>
                    <a:pt x="268" y="153"/>
                  </a:lnTo>
                  <a:lnTo>
                    <a:pt x="242" y="164"/>
                  </a:lnTo>
                  <a:lnTo>
                    <a:pt x="242" y="164"/>
                  </a:lnTo>
                  <a:lnTo>
                    <a:pt x="218" y="178"/>
                  </a:lnTo>
                  <a:lnTo>
                    <a:pt x="195" y="193"/>
                  </a:lnTo>
                  <a:lnTo>
                    <a:pt x="173" y="211"/>
                  </a:lnTo>
                  <a:lnTo>
                    <a:pt x="152" y="232"/>
                  </a:lnTo>
                  <a:lnTo>
                    <a:pt x="152" y="748"/>
                  </a:lnTo>
                  <a:lnTo>
                    <a:pt x="152" y="748"/>
                  </a:lnTo>
                  <a:lnTo>
                    <a:pt x="139" y="751"/>
                  </a:lnTo>
                  <a:lnTo>
                    <a:pt x="121" y="753"/>
                  </a:lnTo>
                  <a:lnTo>
                    <a:pt x="100" y="754"/>
                  </a:lnTo>
                  <a:lnTo>
                    <a:pt x="77" y="754"/>
                  </a:lnTo>
                  <a:lnTo>
                    <a:pt x="77" y="754"/>
                  </a:lnTo>
                  <a:lnTo>
                    <a:pt x="55" y="753"/>
                  </a:lnTo>
                  <a:lnTo>
                    <a:pt x="34" y="752"/>
                  </a:lnTo>
                  <a:lnTo>
                    <a:pt x="34" y="752"/>
                  </a:lnTo>
                  <a:lnTo>
                    <a:pt x="15" y="751"/>
                  </a:lnTo>
                  <a:lnTo>
                    <a:pt x="0" y="747"/>
                  </a:lnTo>
                  <a:lnTo>
                    <a:pt x="0" y="17"/>
                  </a:lnTo>
                  <a:lnTo>
                    <a:pt x="9" y="9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77" y="9"/>
                  </a:lnTo>
                  <a:lnTo>
                    <a:pt x="86" y="10"/>
                  </a:lnTo>
                  <a:lnTo>
                    <a:pt x="94" y="11"/>
                  </a:lnTo>
                  <a:lnTo>
                    <a:pt x="102" y="14"/>
                  </a:lnTo>
                  <a:lnTo>
                    <a:pt x="109" y="17"/>
                  </a:lnTo>
                  <a:lnTo>
                    <a:pt x="116" y="21"/>
                  </a:lnTo>
                  <a:lnTo>
                    <a:pt x="123" y="26"/>
                  </a:lnTo>
                  <a:lnTo>
                    <a:pt x="128" y="31"/>
                  </a:lnTo>
                  <a:lnTo>
                    <a:pt x="134" y="37"/>
                  </a:lnTo>
                  <a:lnTo>
                    <a:pt x="137" y="44"/>
                  </a:lnTo>
                  <a:lnTo>
                    <a:pt x="141" y="52"/>
                  </a:lnTo>
                  <a:lnTo>
                    <a:pt x="145" y="60"/>
                  </a:lnTo>
                  <a:lnTo>
                    <a:pt x="147" y="69"/>
                  </a:lnTo>
                  <a:lnTo>
                    <a:pt x="150" y="79"/>
                  </a:lnTo>
                  <a:lnTo>
                    <a:pt x="152" y="100"/>
                  </a:lnTo>
                  <a:lnTo>
                    <a:pt x="152" y="100"/>
                  </a:lnTo>
                  <a:lnTo>
                    <a:pt x="179" y="76"/>
                  </a:lnTo>
                  <a:lnTo>
                    <a:pt x="208" y="57"/>
                  </a:lnTo>
                  <a:lnTo>
                    <a:pt x="221" y="47"/>
                  </a:lnTo>
                  <a:lnTo>
                    <a:pt x="236" y="39"/>
                  </a:lnTo>
                  <a:lnTo>
                    <a:pt x="251" y="32"/>
                  </a:lnTo>
                  <a:lnTo>
                    <a:pt x="266" y="25"/>
                  </a:lnTo>
                  <a:lnTo>
                    <a:pt x="281" y="20"/>
                  </a:lnTo>
                  <a:lnTo>
                    <a:pt x="295" y="15"/>
                  </a:lnTo>
                  <a:lnTo>
                    <a:pt x="310" y="10"/>
                  </a:lnTo>
                  <a:lnTo>
                    <a:pt x="326" y="6"/>
                  </a:lnTo>
                  <a:lnTo>
                    <a:pt x="341" y="4"/>
                  </a:lnTo>
                  <a:lnTo>
                    <a:pt x="357" y="2"/>
                  </a:lnTo>
                  <a:lnTo>
                    <a:pt x="373" y="1"/>
                  </a:lnTo>
                  <a:lnTo>
                    <a:pt x="389" y="0"/>
                  </a:lnTo>
                  <a:lnTo>
                    <a:pt x="389" y="0"/>
                  </a:lnTo>
                  <a:lnTo>
                    <a:pt x="413" y="1"/>
                  </a:lnTo>
                  <a:lnTo>
                    <a:pt x="436" y="5"/>
                  </a:lnTo>
                  <a:lnTo>
                    <a:pt x="457" y="10"/>
                  </a:lnTo>
                  <a:lnTo>
                    <a:pt x="476" y="17"/>
                  </a:lnTo>
                  <a:lnTo>
                    <a:pt x="494" y="26"/>
                  </a:lnTo>
                  <a:lnTo>
                    <a:pt x="510" y="37"/>
                  </a:lnTo>
                  <a:lnTo>
                    <a:pt x="525" y="51"/>
                  </a:lnTo>
                  <a:lnTo>
                    <a:pt x="537" y="67"/>
                  </a:lnTo>
                  <a:lnTo>
                    <a:pt x="537" y="67"/>
                  </a:lnTo>
                  <a:lnTo>
                    <a:pt x="550" y="84"/>
                  </a:lnTo>
                  <a:lnTo>
                    <a:pt x="560" y="102"/>
                  </a:lnTo>
                  <a:lnTo>
                    <a:pt x="568" y="122"/>
                  </a:lnTo>
                  <a:lnTo>
                    <a:pt x="574" y="144"/>
                  </a:lnTo>
                  <a:lnTo>
                    <a:pt x="580" y="167"/>
                  </a:lnTo>
                  <a:lnTo>
                    <a:pt x="584" y="191"/>
                  </a:lnTo>
                  <a:lnTo>
                    <a:pt x="587" y="217"/>
                  </a:lnTo>
                  <a:lnTo>
                    <a:pt x="587" y="2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dirty="0"/>
            </a:p>
          </p:txBody>
        </p:sp>
        <p:sp>
          <p:nvSpPr>
            <p:cNvPr id="8" name="Freeform 196"/>
            <p:cNvSpPr>
              <a:spLocks/>
            </p:cNvSpPr>
            <p:nvPr/>
          </p:nvSpPr>
          <p:spPr bwMode="auto">
            <a:xfrm>
              <a:off x="657920" y="3880813"/>
              <a:ext cx="139081" cy="679043"/>
            </a:xfrm>
            <a:custGeom>
              <a:avLst/>
              <a:gdLst>
                <a:gd name="T0" fmla="*/ 152 w 153"/>
                <a:gd name="T1" fmla="*/ 91 h 747"/>
                <a:gd name="T2" fmla="*/ 152 w 153"/>
                <a:gd name="T3" fmla="*/ 91 h 747"/>
                <a:gd name="T4" fmla="*/ 149 w 153"/>
                <a:gd name="T5" fmla="*/ 69 h 747"/>
                <a:gd name="T6" fmla="*/ 147 w 153"/>
                <a:gd name="T7" fmla="*/ 60 h 747"/>
                <a:gd name="T8" fmla="*/ 144 w 153"/>
                <a:gd name="T9" fmla="*/ 50 h 747"/>
                <a:gd name="T10" fmla="*/ 142 w 153"/>
                <a:gd name="T11" fmla="*/ 43 h 747"/>
                <a:gd name="T12" fmla="*/ 138 w 153"/>
                <a:gd name="T13" fmla="*/ 34 h 747"/>
                <a:gd name="T14" fmla="*/ 133 w 153"/>
                <a:gd name="T15" fmla="*/ 28 h 747"/>
                <a:gd name="T16" fmla="*/ 128 w 153"/>
                <a:gd name="T17" fmla="*/ 22 h 747"/>
                <a:gd name="T18" fmla="*/ 122 w 153"/>
                <a:gd name="T19" fmla="*/ 17 h 747"/>
                <a:gd name="T20" fmla="*/ 116 w 153"/>
                <a:gd name="T21" fmla="*/ 12 h 747"/>
                <a:gd name="T22" fmla="*/ 110 w 153"/>
                <a:gd name="T23" fmla="*/ 8 h 747"/>
                <a:gd name="T24" fmla="*/ 102 w 153"/>
                <a:gd name="T25" fmla="*/ 5 h 747"/>
                <a:gd name="T26" fmla="*/ 94 w 153"/>
                <a:gd name="T27" fmla="*/ 2 h 747"/>
                <a:gd name="T28" fmla="*/ 85 w 153"/>
                <a:gd name="T29" fmla="*/ 1 h 747"/>
                <a:gd name="T30" fmla="*/ 77 w 153"/>
                <a:gd name="T31" fmla="*/ 0 h 747"/>
                <a:gd name="T32" fmla="*/ 67 w 153"/>
                <a:gd name="T33" fmla="*/ 0 h 747"/>
                <a:gd name="T34" fmla="*/ 9 w 153"/>
                <a:gd name="T35" fmla="*/ 0 h 747"/>
                <a:gd name="T36" fmla="*/ 0 w 153"/>
                <a:gd name="T37" fmla="*/ 8 h 747"/>
                <a:gd name="T38" fmla="*/ 0 w 153"/>
                <a:gd name="T39" fmla="*/ 740 h 747"/>
                <a:gd name="T40" fmla="*/ 0 w 153"/>
                <a:gd name="T41" fmla="*/ 740 h 747"/>
                <a:gd name="T42" fmla="*/ 16 w 153"/>
                <a:gd name="T43" fmla="*/ 743 h 747"/>
                <a:gd name="T44" fmla="*/ 33 w 153"/>
                <a:gd name="T45" fmla="*/ 745 h 747"/>
                <a:gd name="T46" fmla="*/ 33 w 153"/>
                <a:gd name="T47" fmla="*/ 745 h 747"/>
                <a:gd name="T48" fmla="*/ 54 w 153"/>
                <a:gd name="T49" fmla="*/ 747 h 747"/>
                <a:gd name="T50" fmla="*/ 77 w 153"/>
                <a:gd name="T51" fmla="*/ 747 h 747"/>
                <a:gd name="T52" fmla="*/ 77 w 153"/>
                <a:gd name="T53" fmla="*/ 747 h 747"/>
                <a:gd name="T54" fmla="*/ 101 w 153"/>
                <a:gd name="T55" fmla="*/ 745 h 747"/>
                <a:gd name="T56" fmla="*/ 121 w 153"/>
                <a:gd name="T57" fmla="*/ 745 h 747"/>
                <a:gd name="T58" fmla="*/ 138 w 153"/>
                <a:gd name="T59" fmla="*/ 743 h 747"/>
                <a:gd name="T60" fmla="*/ 153 w 153"/>
                <a:gd name="T61" fmla="*/ 740 h 747"/>
                <a:gd name="T62" fmla="*/ 153 w 153"/>
                <a:gd name="T63" fmla="*/ 223 h 747"/>
                <a:gd name="T64" fmla="*/ 153 w 153"/>
                <a:gd name="T65" fmla="*/ 223 h 747"/>
                <a:gd name="T66" fmla="*/ 152 w 153"/>
                <a:gd name="T67" fmla="*/ 156 h 747"/>
                <a:gd name="T68" fmla="*/ 152 w 153"/>
                <a:gd name="T69" fmla="*/ 121 h 747"/>
                <a:gd name="T70" fmla="*/ 152 w 153"/>
                <a:gd name="T71" fmla="*/ 91 h 7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53" h="747">
                  <a:moveTo>
                    <a:pt x="152" y="91"/>
                  </a:moveTo>
                  <a:lnTo>
                    <a:pt x="152" y="91"/>
                  </a:lnTo>
                  <a:lnTo>
                    <a:pt x="149" y="69"/>
                  </a:lnTo>
                  <a:lnTo>
                    <a:pt x="147" y="60"/>
                  </a:lnTo>
                  <a:lnTo>
                    <a:pt x="144" y="50"/>
                  </a:lnTo>
                  <a:lnTo>
                    <a:pt x="142" y="43"/>
                  </a:lnTo>
                  <a:lnTo>
                    <a:pt x="138" y="34"/>
                  </a:lnTo>
                  <a:lnTo>
                    <a:pt x="133" y="28"/>
                  </a:lnTo>
                  <a:lnTo>
                    <a:pt x="128" y="22"/>
                  </a:lnTo>
                  <a:lnTo>
                    <a:pt x="122" y="17"/>
                  </a:lnTo>
                  <a:lnTo>
                    <a:pt x="116" y="12"/>
                  </a:lnTo>
                  <a:lnTo>
                    <a:pt x="110" y="8"/>
                  </a:lnTo>
                  <a:lnTo>
                    <a:pt x="102" y="5"/>
                  </a:lnTo>
                  <a:lnTo>
                    <a:pt x="94" y="2"/>
                  </a:lnTo>
                  <a:lnTo>
                    <a:pt x="85" y="1"/>
                  </a:lnTo>
                  <a:lnTo>
                    <a:pt x="77" y="0"/>
                  </a:lnTo>
                  <a:lnTo>
                    <a:pt x="67" y="0"/>
                  </a:lnTo>
                  <a:lnTo>
                    <a:pt x="9" y="0"/>
                  </a:lnTo>
                  <a:lnTo>
                    <a:pt x="0" y="8"/>
                  </a:lnTo>
                  <a:lnTo>
                    <a:pt x="0" y="740"/>
                  </a:lnTo>
                  <a:lnTo>
                    <a:pt x="0" y="740"/>
                  </a:lnTo>
                  <a:lnTo>
                    <a:pt x="16" y="743"/>
                  </a:lnTo>
                  <a:lnTo>
                    <a:pt x="33" y="745"/>
                  </a:lnTo>
                  <a:lnTo>
                    <a:pt x="33" y="745"/>
                  </a:lnTo>
                  <a:lnTo>
                    <a:pt x="54" y="747"/>
                  </a:lnTo>
                  <a:lnTo>
                    <a:pt x="77" y="747"/>
                  </a:lnTo>
                  <a:lnTo>
                    <a:pt x="77" y="747"/>
                  </a:lnTo>
                  <a:lnTo>
                    <a:pt x="101" y="745"/>
                  </a:lnTo>
                  <a:lnTo>
                    <a:pt x="121" y="745"/>
                  </a:lnTo>
                  <a:lnTo>
                    <a:pt x="138" y="743"/>
                  </a:lnTo>
                  <a:lnTo>
                    <a:pt x="153" y="740"/>
                  </a:lnTo>
                  <a:lnTo>
                    <a:pt x="153" y="223"/>
                  </a:lnTo>
                  <a:lnTo>
                    <a:pt x="153" y="223"/>
                  </a:lnTo>
                  <a:lnTo>
                    <a:pt x="152" y="156"/>
                  </a:lnTo>
                  <a:lnTo>
                    <a:pt x="152" y="121"/>
                  </a:lnTo>
                  <a:lnTo>
                    <a:pt x="152" y="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dirty="0"/>
            </a:p>
          </p:txBody>
        </p:sp>
        <p:sp>
          <p:nvSpPr>
            <p:cNvPr id="9" name="Freeform 198"/>
            <p:cNvSpPr>
              <a:spLocks/>
            </p:cNvSpPr>
            <p:nvPr/>
          </p:nvSpPr>
          <p:spPr bwMode="auto">
            <a:xfrm>
              <a:off x="1652395" y="3553563"/>
              <a:ext cx="489056" cy="1007202"/>
            </a:xfrm>
            <a:custGeom>
              <a:avLst/>
              <a:gdLst>
                <a:gd name="T0" fmla="*/ 134 w 538"/>
                <a:gd name="T1" fmla="*/ 476 h 1108"/>
                <a:gd name="T2" fmla="*/ 7 w 538"/>
                <a:gd name="T3" fmla="*/ 478 h 1108"/>
                <a:gd name="T4" fmla="*/ 2 w 538"/>
                <a:gd name="T5" fmla="*/ 451 h 1108"/>
                <a:gd name="T6" fmla="*/ 1 w 538"/>
                <a:gd name="T7" fmla="*/ 436 h 1108"/>
                <a:gd name="T8" fmla="*/ 0 w 538"/>
                <a:gd name="T9" fmla="*/ 421 h 1108"/>
                <a:gd name="T10" fmla="*/ 1 w 538"/>
                <a:gd name="T11" fmla="*/ 389 h 1108"/>
                <a:gd name="T12" fmla="*/ 6 w 538"/>
                <a:gd name="T13" fmla="*/ 363 h 1108"/>
                <a:gd name="T14" fmla="*/ 127 w 538"/>
                <a:gd name="T15" fmla="*/ 365 h 1108"/>
                <a:gd name="T16" fmla="*/ 118 w 538"/>
                <a:gd name="T17" fmla="*/ 256 h 1108"/>
                <a:gd name="T18" fmla="*/ 118 w 538"/>
                <a:gd name="T19" fmla="*/ 232 h 1108"/>
                <a:gd name="T20" fmla="*/ 122 w 538"/>
                <a:gd name="T21" fmla="*/ 184 h 1108"/>
                <a:gd name="T22" fmla="*/ 133 w 538"/>
                <a:gd name="T23" fmla="*/ 140 h 1108"/>
                <a:gd name="T24" fmla="*/ 141 w 538"/>
                <a:gd name="T25" fmla="*/ 119 h 1108"/>
                <a:gd name="T26" fmla="*/ 165 w 538"/>
                <a:gd name="T27" fmla="*/ 82 h 1108"/>
                <a:gd name="T28" fmla="*/ 179 w 538"/>
                <a:gd name="T29" fmla="*/ 66 h 1108"/>
                <a:gd name="T30" fmla="*/ 212 w 538"/>
                <a:gd name="T31" fmla="*/ 39 h 1108"/>
                <a:gd name="T32" fmla="*/ 250 w 538"/>
                <a:gd name="T33" fmla="*/ 18 h 1108"/>
                <a:gd name="T34" fmla="*/ 272 w 538"/>
                <a:gd name="T35" fmla="*/ 10 h 1108"/>
                <a:gd name="T36" fmla="*/ 319 w 538"/>
                <a:gd name="T37" fmla="*/ 1 h 1108"/>
                <a:gd name="T38" fmla="*/ 344 w 538"/>
                <a:gd name="T39" fmla="*/ 0 h 1108"/>
                <a:gd name="T40" fmla="*/ 396 w 538"/>
                <a:gd name="T41" fmla="*/ 3 h 1108"/>
                <a:gd name="T42" fmla="*/ 445 w 538"/>
                <a:gd name="T43" fmla="*/ 9 h 1108"/>
                <a:gd name="T44" fmla="*/ 492 w 538"/>
                <a:gd name="T45" fmla="*/ 19 h 1108"/>
                <a:gd name="T46" fmla="*/ 538 w 538"/>
                <a:gd name="T47" fmla="*/ 34 h 1108"/>
                <a:gd name="T48" fmla="*/ 538 w 538"/>
                <a:gd name="T49" fmla="*/ 50 h 1108"/>
                <a:gd name="T50" fmla="*/ 533 w 538"/>
                <a:gd name="T51" fmla="*/ 79 h 1108"/>
                <a:gd name="T52" fmla="*/ 524 w 538"/>
                <a:gd name="T53" fmla="*/ 106 h 1108"/>
                <a:gd name="T54" fmla="*/ 511 w 538"/>
                <a:gd name="T55" fmla="*/ 129 h 1108"/>
                <a:gd name="T56" fmla="*/ 502 w 538"/>
                <a:gd name="T57" fmla="*/ 139 h 1108"/>
                <a:gd name="T58" fmla="*/ 438 w 538"/>
                <a:gd name="T59" fmla="*/ 122 h 1108"/>
                <a:gd name="T60" fmla="*/ 408 w 538"/>
                <a:gd name="T61" fmla="*/ 118 h 1108"/>
                <a:gd name="T62" fmla="*/ 381 w 538"/>
                <a:gd name="T63" fmla="*/ 116 h 1108"/>
                <a:gd name="T64" fmla="*/ 353 w 538"/>
                <a:gd name="T65" fmla="*/ 119 h 1108"/>
                <a:gd name="T66" fmla="*/ 328 w 538"/>
                <a:gd name="T67" fmla="*/ 125 h 1108"/>
                <a:gd name="T68" fmla="*/ 307 w 538"/>
                <a:gd name="T69" fmla="*/ 135 h 1108"/>
                <a:gd name="T70" fmla="*/ 291 w 538"/>
                <a:gd name="T71" fmla="*/ 150 h 1108"/>
                <a:gd name="T72" fmla="*/ 285 w 538"/>
                <a:gd name="T73" fmla="*/ 158 h 1108"/>
                <a:gd name="T74" fmla="*/ 274 w 538"/>
                <a:gd name="T75" fmla="*/ 179 h 1108"/>
                <a:gd name="T76" fmla="*/ 267 w 538"/>
                <a:gd name="T77" fmla="*/ 205 h 1108"/>
                <a:gd name="T78" fmla="*/ 264 w 538"/>
                <a:gd name="T79" fmla="*/ 235 h 1108"/>
                <a:gd name="T80" fmla="*/ 262 w 538"/>
                <a:gd name="T81" fmla="*/ 251 h 1108"/>
                <a:gd name="T82" fmla="*/ 266 w 538"/>
                <a:gd name="T83" fmla="*/ 304 h 1108"/>
                <a:gd name="T84" fmla="*/ 274 w 538"/>
                <a:gd name="T85" fmla="*/ 367 h 1108"/>
                <a:gd name="T86" fmla="*/ 483 w 538"/>
                <a:gd name="T87" fmla="*/ 365 h 1108"/>
                <a:gd name="T88" fmla="*/ 488 w 538"/>
                <a:gd name="T89" fmla="*/ 390 h 1108"/>
                <a:gd name="T90" fmla="*/ 490 w 538"/>
                <a:gd name="T91" fmla="*/ 405 h 1108"/>
                <a:gd name="T92" fmla="*/ 491 w 538"/>
                <a:gd name="T93" fmla="*/ 423 h 1108"/>
                <a:gd name="T94" fmla="*/ 488 w 538"/>
                <a:gd name="T95" fmla="*/ 452 h 1108"/>
                <a:gd name="T96" fmla="*/ 486 w 538"/>
                <a:gd name="T97" fmla="*/ 466 h 1108"/>
                <a:gd name="T98" fmla="*/ 285 w 538"/>
                <a:gd name="T99" fmla="*/ 476 h 1108"/>
                <a:gd name="T100" fmla="*/ 285 w 538"/>
                <a:gd name="T101" fmla="*/ 1102 h 1108"/>
                <a:gd name="T102" fmla="*/ 249 w 538"/>
                <a:gd name="T103" fmla="*/ 1107 h 1108"/>
                <a:gd name="T104" fmla="*/ 229 w 538"/>
                <a:gd name="T105" fmla="*/ 1108 h 1108"/>
                <a:gd name="T106" fmla="*/ 208 w 538"/>
                <a:gd name="T107" fmla="*/ 1108 h 1108"/>
                <a:gd name="T108" fmla="*/ 167 w 538"/>
                <a:gd name="T109" fmla="*/ 1107 h 1108"/>
                <a:gd name="T110" fmla="*/ 150 w 538"/>
                <a:gd name="T111" fmla="*/ 1103 h 1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38" h="1108">
                  <a:moveTo>
                    <a:pt x="134" y="1100"/>
                  </a:moveTo>
                  <a:lnTo>
                    <a:pt x="134" y="476"/>
                  </a:lnTo>
                  <a:lnTo>
                    <a:pt x="7" y="478"/>
                  </a:lnTo>
                  <a:lnTo>
                    <a:pt x="7" y="478"/>
                  </a:lnTo>
                  <a:lnTo>
                    <a:pt x="3" y="466"/>
                  </a:lnTo>
                  <a:lnTo>
                    <a:pt x="2" y="451"/>
                  </a:lnTo>
                  <a:lnTo>
                    <a:pt x="2" y="451"/>
                  </a:lnTo>
                  <a:lnTo>
                    <a:pt x="1" y="436"/>
                  </a:lnTo>
                  <a:lnTo>
                    <a:pt x="0" y="421"/>
                  </a:lnTo>
                  <a:lnTo>
                    <a:pt x="0" y="421"/>
                  </a:lnTo>
                  <a:lnTo>
                    <a:pt x="1" y="404"/>
                  </a:lnTo>
                  <a:lnTo>
                    <a:pt x="1" y="389"/>
                  </a:lnTo>
                  <a:lnTo>
                    <a:pt x="3" y="376"/>
                  </a:lnTo>
                  <a:lnTo>
                    <a:pt x="6" y="363"/>
                  </a:lnTo>
                  <a:lnTo>
                    <a:pt x="127" y="365"/>
                  </a:lnTo>
                  <a:lnTo>
                    <a:pt x="127" y="365"/>
                  </a:lnTo>
                  <a:lnTo>
                    <a:pt x="121" y="287"/>
                  </a:lnTo>
                  <a:lnTo>
                    <a:pt x="118" y="256"/>
                  </a:lnTo>
                  <a:lnTo>
                    <a:pt x="118" y="232"/>
                  </a:lnTo>
                  <a:lnTo>
                    <a:pt x="118" y="232"/>
                  </a:lnTo>
                  <a:lnTo>
                    <a:pt x="119" y="208"/>
                  </a:lnTo>
                  <a:lnTo>
                    <a:pt x="122" y="184"/>
                  </a:lnTo>
                  <a:lnTo>
                    <a:pt x="127" y="161"/>
                  </a:lnTo>
                  <a:lnTo>
                    <a:pt x="133" y="140"/>
                  </a:lnTo>
                  <a:lnTo>
                    <a:pt x="133" y="140"/>
                  </a:lnTo>
                  <a:lnTo>
                    <a:pt x="141" y="119"/>
                  </a:lnTo>
                  <a:lnTo>
                    <a:pt x="153" y="100"/>
                  </a:lnTo>
                  <a:lnTo>
                    <a:pt x="165" y="82"/>
                  </a:lnTo>
                  <a:lnTo>
                    <a:pt x="179" y="66"/>
                  </a:lnTo>
                  <a:lnTo>
                    <a:pt x="179" y="66"/>
                  </a:lnTo>
                  <a:lnTo>
                    <a:pt x="195" y="51"/>
                  </a:lnTo>
                  <a:lnTo>
                    <a:pt x="212" y="39"/>
                  </a:lnTo>
                  <a:lnTo>
                    <a:pt x="230" y="27"/>
                  </a:lnTo>
                  <a:lnTo>
                    <a:pt x="250" y="18"/>
                  </a:lnTo>
                  <a:lnTo>
                    <a:pt x="250" y="18"/>
                  </a:lnTo>
                  <a:lnTo>
                    <a:pt x="272" y="10"/>
                  </a:lnTo>
                  <a:lnTo>
                    <a:pt x="295" y="4"/>
                  </a:lnTo>
                  <a:lnTo>
                    <a:pt x="319" y="1"/>
                  </a:lnTo>
                  <a:lnTo>
                    <a:pt x="344" y="0"/>
                  </a:lnTo>
                  <a:lnTo>
                    <a:pt x="344" y="0"/>
                  </a:lnTo>
                  <a:lnTo>
                    <a:pt x="370" y="0"/>
                  </a:lnTo>
                  <a:lnTo>
                    <a:pt x="396" y="3"/>
                  </a:lnTo>
                  <a:lnTo>
                    <a:pt x="420" y="5"/>
                  </a:lnTo>
                  <a:lnTo>
                    <a:pt x="445" y="9"/>
                  </a:lnTo>
                  <a:lnTo>
                    <a:pt x="469" y="14"/>
                  </a:lnTo>
                  <a:lnTo>
                    <a:pt x="492" y="19"/>
                  </a:lnTo>
                  <a:lnTo>
                    <a:pt x="515" y="26"/>
                  </a:lnTo>
                  <a:lnTo>
                    <a:pt x="538" y="34"/>
                  </a:lnTo>
                  <a:lnTo>
                    <a:pt x="538" y="34"/>
                  </a:lnTo>
                  <a:lnTo>
                    <a:pt x="538" y="50"/>
                  </a:lnTo>
                  <a:lnTo>
                    <a:pt x="535" y="66"/>
                  </a:lnTo>
                  <a:lnTo>
                    <a:pt x="533" y="79"/>
                  </a:lnTo>
                  <a:lnTo>
                    <a:pt x="529" y="93"/>
                  </a:lnTo>
                  <a:lnTo>
                    <a:pt x="524" y="106"/>
                  </a:lnTo>
                  <a:lnTo>
                    <a:pt x="518" y="118"/>
                  </a:lnTo>
                  <a:lnTo>
                    <a:pt x="511" y="129"/>
                  </a:lnTo>
                  <a:lnTo>
                    <a:pt x="502" y="139"/>
                  </a:lnTo>
                  <a:lnTo>
                    <a:pt x="502" y="139"/>
                  </a:lnTo>
                  <a:lnTo>
                    <a:pt x="469" y="129"/>
                  </a:lnTo>
                  <a:lnTo>
                    <a:pt x="438" y="122"/>
                  </a:lnTo>
                  <a:lnTo>
                    <a:pt x="438" y="122"/>
                  </a:lnTo>
                  <a:lnTo>
                    <a:pt x="408" y="118"/>
                  </a:lnTo>
                  <a:lnTo>
                    <a:pt x="381" y="116"/>
                  </a:lnTo>
                  <a:lnTo>
                    <a:pt x="381" y="116"/>
                  </a:lnTo>
                  <a:lnTo>
                    <a:pt x="366" y="116"/>
                  </a:lnTo>
                  <a:lnTo>
                    <a:pt x="353" y="119"/>
                  </a:lnTo>
                  <a:lnTo>
                    <a:pt x="339" y="121"/>
                  </a:lnTo>
                  <a:lnTo>
                    <a:pt x="328" y="125"/>
                  </a:lnTo>
                  <a:lnTo>
                    <a:pt x="317" y="130"/>
                  </a:lnTo>
                  <a:lnTo>
                    <a:pt x="307" y="135"/>
                  </a:lnTo>
                  <a:lnTo>
                    <a:pt x="298" y="142"/>
                  </a:lnTo>
                  <a:lnTo>
                    <a:pt x="291" y="150"/>
                  </a:lnTo>
                  <a:lnTo>
                    <a:pt x="291" y="150"/>
                  </a:lnTo>
                  <a:lnTo>
                    <a:pt x="285" y="158"/>
                  </a:lnTo>
                  <a:lnTo>
                    <a:pt x="278" y="169"/>
                  </a:lnTo>
                  <a:lnTo>
                    <a:pt x="274" y="179"/>
                  </a:lnTo>
                  <a:lnTo>
                    <a:pt x="270" y="192"/>
                  </a:lnTo>
                  <a:lnTo>
                    <a:pt x="267" y="205"/>
                  </a:lnTo>
                  <a:lnTo>
                    <a:pt x="265" y="219"/>
                  </a:lnTo>
                  <a:lnTo>
                    <a:pt x="264" y="235"/>
                  </a:lnTo>
                  <a:lnTo>
                    <a:pt x="262" y="251"/>
                  </a:lnTo>
                  <a:lnTo>
                    <a:pt x="262" y="251"/>
                  </a:lnTo>
                  <a:lnTo>
                    <a:pt x="264" y="277"/>
                  </a:lnTo>
                  <a:lnTo>
                    <a:pt x="266" y="304"/>
                  </a:lnTo>
                  <a:lnTo>
                    <a:pt x="266" y="304"/>
                  </a:lnTo>
                  <a:lnTo>
                    <a:pt x="274" y="367"/>
                  </a:lnTo>
                  <a:lnTo>
                    <a:pt x="483" y="365"/>
                  </a:lnTo>
                  <a:lnTo>
                    <a:pt x="483" y="365"/>
                  </a:lnTo>
                  <a:lnTo>
                    <a:pt x="486" y="377"/>
                  </a:lnTo>
                  <a:lnTo>
                    <a:pt x="488" y="390"/>
                  </a:lnTo>
                  <a:lnTo>
                    <a:pt x="488" y="390"/>
                  </a:lnTo>
                  <a:lnTo>
                    <a:pt x="490" y="405"/>
                  </a:lnTo>
                  <a:lnTo>
                    <a:pt x="491" y="423"/>
                  </a:lnTo>
                  <a:lnTo>
                    <a:pt x="491" y="423"/>
                  </a:lnTo>
                  <a:lnTo>
                    <a:pt x="490" y="437"/>
                  </a:lnTo>
                  <a:lnTo>
                    <a:pt x="488" y="452"/>
                  </a:lnTo>
                  <a:lnTo>
                    <a:pt x="488" y="452"/>
                  </a:lnTo>
                  <a:lnTo>
                    <a:pt x="486" y="466"/>
                  </a:lnTo>
                  <a:lnTo>
                    <a:pt x="483" y="479"/>
                  </a:lnTo>
                  <a:lnTo>
                    <a:pt x="285" y="476"/>
                  </a:lnTo>
                  <a:lnTo>
                    <a:pt x="285" y="1102"/>
                  </a:lnTo>
                  <a:lnTo>
                    <a:pt x="285" y="1102"/>
                  </a:lnTo>
                  <a:lnTo>
                    <a:pt x="267" y="1104"/>
                  </a:lnTo>
                  <a:lnTo>
                    <a:pt x="249" y="1107"/>
                  </a:lnTo>
                  <a:lnTo>
                    <a:pt x="249" y="1107"/>
                  </a:lnTo>
                  <a:lnTo>
                    <a:pt x="229" y="1108"/>
                  </a:lnTo>
                  <a:lnTo>
                    <a:pt x="208" y="1108"/>
                  </a:lnTo>
                  <a:lnTo>
                    <a:pt x="208" y="1108"/>
                  </a:lnTo>
                  <a:lnTo>
                    <a:pt x="187" y="1108"/>
                  </a:lnTo>
                  <a:lnTo>
                    <a:pt x="167" y="1107"/>
                  </a:lnTo>
                  <a:lnTo>
                    <a:pt x="167" y="1107"/>
                  </a:lnTo>
                  <a:lnTo>
                    <a:pt x="150" y="1103"/>
                  </a:lnTo>
                  <a:lnTo>
                    <a:pt x="134" y="11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dirty="0"/>
            </a:p>
          </p:txBody>
        </p:sp>
        <p:sp>
          <p:nvSpPr>
            <p:cNvPr id="10" name="Freeform 200"/>
            <p:cNvSpPr>
              <a:spLocks noEditPoints="1"/>
            </p:cNvSpPr>
            <p:nvPr/>
          </p:nvSpPr>
          <p:spPr bwMode="auto">
            <a:xfrm>
              <a:off x="2135089" y="3868086"/>
              <a:ext cx="586323" cy="703587"/>
            </a:xfrm>
            <a:custGeom>
              <a:avLst/>
              <a:gdLst>
                <a:gd name="T0" fmla="*/ 286 w 645"/>
                <a:gd name="T1" fmla="*/ 121 h 774"/>
                <a:gd name="T2" fmla="*/ 225 w 645"/>
                <a:gd name="T3" fmla="*/ 154 h 774"/>
                <a:gd name="T4" fmla="*/ 184 w 645"/>
                <a:gd name="T5" fmla="*/ 222 h 774"/>
                <a:gd name="T6" fmla="*/ 165 w 645"/>
                <a:gd name="T7" fmla="*/ 322 h 774"/>
                <a:gd name="T8" fmla="*/ 162 w 645"/>
                <a:gd name="T9" fmla="*/ 419 h 774"/>
                <a:gd name="T10" fmla="*/ 177 w 645"/>
                <a:gd name="T11" fmla="*/ 528 h 774"/>
                <a:gd name="T12" fmla="*/ 213 w 645"/>
                <a:gd name="T13" fmla="*/ 604 h 774"/>
                <a:gd name="T14" fmla="*/ 268 w 645"/>
                <a:gd name="T15" fmla="*/ 646 h 774"/>
                <a:gd name="T16" fmla="*/ 323 w 645"/>
                <a:gd name="T17" fmla="*/ 654 h 774"/>
                <a:gd name="T18" fmla="*/ 394 w 645"/>
                <a:gd name="T19" fmla="*/ 638 h 774"/>
                <a:gd name="T20" fmla="*/ 445 w 645"/>
                <a:gd name="T21" fmla="*/ 588 h 774"/>
                <a:gd name="T22" fmla="*/ 476 w 645"/>
                <a:gd name="T23" fmla="*/ 504 h 774"/>
                <a:gd name="T24" fmla="*/ 486 w 645"/>
                <a:gd name="T25" fmla="*/ 385 h 774"/>
                <a:gd name="T26" fmla="*/ 481 w 645"/>
                <a:gd name="T27" fmla="*/ 294 h 774"/>
                <a:gd name="T28" fmla="*/ 455 w 645"/>
                <a:gd name="T29" fmla="*/ 202 h 774"/>
                <a:gd name="T30" fmla="*/ 409 w 645"/>
                <a:gd name="T31" fmla="*/ 143 h 774"/>
                <a:gd name="T32" fmla="*/ 342 w 645"/>
                <a:gd name="T33" fmla="*/ 117 h 774"/>
                <a:gd name="T34" fmla="*/ 527 w 645"/>
                <a:gd name="T35" fmla="*/ 701 h 774"/>
                <a:gd name="T36" fmla="*/ 482 w 645"/>
                <a:gd name="T37" fmla="*/ 735 h 774"/>
                <a:gd name="T38" fmla="*/ 415 w 645"/>
                <a:gd name="T39" fmla="*/ 762 h 774"/>
                <a:gd name="T40" fmla="*/ 323 w 645"/>
                <a:gd name="T41" fmla="*/ 774 h 774"/>
                <a:gd name="T42" fmla="*/ 249 w 645"/>
                <a:gd name="T43" fmla="*/ 767 h 774"/>
                <a:gd name="T44" fmla="*/ 184 w 645"/>
                <a:gd name="T45" fmla="*/ 747 h 774"/>
                <a:gd name="T46" fmla="*/ 142 w 645"/>
                <a:gd name="T47" fmla="*/ 722 h 774"/>
                <a:gd name="T48" fmla="*/ 94 w 645"/>
                <a:gd name="T49" fmla="*/ 680 h 774"/>
                <a:gd name="T50" fmla="*/ 65 w 645"/>
                <a:gd name="T51" fmla="*/ 641 h 774"/>
                <a:gd name="T52" fmla="*/ 34 w 645"/>
                <a:gd name="T53" fmla="*/ 579 h 774"/>
                <a:gd name="T54" fmla="*/ 17 w 645"/>
                <a:gd name="T55" fmla="*/ 527 h 774"/>
                <a:gd name="T56" fmla="*/ 2 w 645"/>
                <a:gd name="T57" fmla="*/ 430 h 774"/>
                <a:gd name="T58" fmla="*/ 5 w 645"/>
                <a:gd name="T59" fmla="*/ 304 h 774"/>
                <a:gd name="T60" fmla="*/ 21 w 645"/>
                <a:gd name="T61" fmla="*/ 228 h 774"/>
                <a:gd name="T62" fmla="*/ 47 w 645"/>
                <a:gd name="T63" fmla="*/ 162 h 774"/>
                <a:gd name="T64" fmla="*/ 84 w 645"/>
                <a:gd name="T65" fmla="*/ 106 h 774"/>
                <a:gd name="T66" fmla="*/ 118 w 645"/>
                <a:gd name="T67" fmla="*/ 70 h 774"/>
                <a:gd name="T68" fmla="*/ 170 w 645"/>
                <a:gd name="T69" fmla="*/ 33 h 774"/>
                <a:gd name="T70" fmla="*/ 215 w 645"/>
                <a:gd name="T71" fmla="*/ 15 h 774"/>
                <a:gd name="T72" fmla="*/ 284 w 645"/>
                <a:gd name="T73" fmla="*/ 1 h 774"/>
                <a:gd name="T74" fmla="*/ 341 w 645"/>
                <a:gd name="T75" fmla="*/ 0 h 774"/>
                <a:gd name="T76" fmla="*/ 411 w 645"/>
                <a:gd name="T77" fmla="*/ 10 h 774"/>
                <a:gd name="T78" fmla="*/ 460 w 645"/>
                <a:gd name="T79" fmla="*/ 27 h 774"/>
                <a:gd name="T80" fmla="*/ 514 w 645"/>
                <a:gd name="T81" fmla="*/ 60 h 774"/>
                <a:gd name="T82" fmla="*/ 560 w 645"/>
                <a:gd name="T83" fmla="*/ 106 h 774"/>
                <a:gd name="T84" fmla="*/ 588 w 645"/>
                <a:gd name="T85" fmla="*/ 147 h 774"/>
                <a:gd name="T86" fmla="*/ 618 w 645"/>
                <a:gd name="T87" fmla="*/ 211 h 774"/>
                <a:gd name="T88" fmla="*/ 632 w 645"/>
                <a:gd name="T89" fmla="*/ 265 h 774"/>
                <a:gd name="T90" fmla="*/ 645 w 645"/>
                <a:gd name="T91" fmla="*/ 386 h 774"/>
                <a:gd name="T92" fmla="*/ 641 w 645"/>
                <a:gd name="T93" fmla="*/ 458 h 774"/>
                <a:gd name="T94" fmla="*/ 624 w 645"/>
                <a:gd name="T95" fmla="*/ 543 h 774"/>
                <a:gd name="T96" fmla="*/ 594 w 645"/>
                <a:gd name="T97" fmla="*/ 616 h 774"/>
                <a:gd name="T98" fmla="*/ 551 w 645"/>
                <a:gd name="T99" fmla="*/ 678 h 7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645" h="774">
                  <a:moveTo>
                    <a:pt x="323" y="116"/>
                  </a:moveTo>
                  <a:lnTo>
                    <a:pt x="323" y="116"/>
                  </a:lnTo>
                  <a:lnTo>
                    <a:pt x="304" y="117"/>
                  </a:lnTo>
                  <a:lnTo>
                    <a:pt x="286" y="121"/>
                  </a:lnTo>
                  <a:lnTo>
                    <a:pt x="268" y="126"/>
                  </a:lnTo>
                  <a:lnTo>
                    <a:pt x="252" y="133"/>
                  </a:lnTo>
                  <a:lnTo>
                    <a:pt x="237" y="143"/>
                  </a:lnTo>
                  <a:lnTo>
                    <a:pt x="225" y="154"/>
                  </a:lnTo>
                  <a:lnTo>
                    <a:pt x="213" y="168"/>
                  </a:lnTo>
                  <a:lnTo>
                    <a:pt x="202" y="184"/>
                  </a:lnTo>
                  <a:lnTo>
                    <a:pt x="193" y="202"/>
                  </a:lnTo>
                  <a:lnTo>
                    <a:pt x="184" y="222"/>
                  </a:lnTo>
                  <a:lnTo>
                    <a:pt x="177" y="244"/>
                  </a:lnTo>
                  <a:lnTo>
                    <a:pt x="172" y="268"/>
                  </a:lnTo>
                  <a:lnTo>
                    <a:pt x="167" y="294"/>
                  </a:lnTo>
                  <a:lnTo>
                    <a:pt x="165" y="322"/>
                  </a:lnTo>
                  <a:lnTo>
                    <a:pt x="162" y="353"/>
                  </a:lnTo>
                  <a:lnTo>
                    <a:pt x="161" y="385"/>
                  </a:lnTo>
                  <a:lnTo>
                    <a:pt x="161" y="385"/>
                  </a:lnTo>
                  <a:lnTo>
                    <a:pt x="162" y="419"/>
                  </a:lnTo>
                  <a:lnTo>
                    <a:pt x="165" y="449"/>
                  </a:lnTo>
                  <a:lnTo>
                    <a:pt x="167" y="478"/>
                  </a:lnTo>
                  <a:lnTo>
                    <a:pt x="172" y="504"/>
                  </a:lnTo>
                  <a:lnTo>
                    <a:pt x="177" y="528"/>
                  </a:lnTo>
                  <a:lnTo>
                    <a:pt x="184" y="549"/>
                  </a:lnTo>
                  <a:lnTo>
                    <a:pt x="193" y="570"/>
                  </a:lnTo>
                  <a:lnTo>
                    <a:pt x="202" y="588"/>
                  </a:lnTo>
                  <a:lnTo>
                    <a:pt x="213" y="604"/>
                  </a:lnTo>
                  <a:lnTo>
                    <a:pt x="225" y="617"/>
                  </a:lnTo>
                  <a:lnTo>
                    <a:pt x="237" y="628"/>
                  </a:lnTo>
                  <a:lnTo>
                    <a:pt x="252" y="638"/>
                  </a:lnTo>
                  <a:lnTo>
                    <a:pt x="268" y="646"/>
                  </a:lnTo>
                  <a:lnTo>
                    <a:pt x="286" y="651"/>
                  </a:lnTo>
                  <a:lnTo>
                    <a:pt x="304" y="653"/>
                  </a:lnTo>
                  <a:lnTo>
                    <a:pt x="323" y="654"/>
                  </a:lnTo>
                  <a:lnTo>
                    <a:pt x="323" y="654"/>
                  </a:lnTo>
                  <a:lnTo>
                    <a:pt x="342" y="653"/>
                  </a:lnTo>
                  <a:lnTo>
                    <a:pt x="361" y="651"/>
                  </a:lnTo>
                  <a:lnTo>
                    <a:pt x="378" y="646"/>
                  </a:lnTo>
                  <a:lnTo>
                    <a:pt x="394" y="638"/>
                  </a:lnTo>
                  <a:lnTo>
                    <a:pt x="409" y="628"/>
                  </a:lnTo>
                  <a:lnTo>
                    <a:pt x="423" y="617"/>
                  </a:lnTo>
                  <a:lnTo>
                    <a:pt x="434" y="603"/>
                  </a:lnTo>
                  <a:lnTo>
                    <a:pt x="445" y="588"/>
                  </a:lnTo>
                  <a:lnTo>
                    <a:pt x="455" y="569"/>
                  </a:lnTo>
                  <a:lnTo>
                    <a:pt x="463" y="549"/>
                  </a:lnTo>
                  <a:lnTo>
                    <a:pt x="469" y="527"/>
                  </a:lnTo>
                  <a:lnTo>
                    <a:pt x="476" y="504"/>
                  </a:lnTo>
                  <a:lnTo>
                    <a:pt x="479" y="477"/>
                  </a:lnTo>
                  <a:lnTo>
                    <a:pt x="483" y="448"/>
                  </a:lnTo>
                  <a:lnTo>
                    <a:pt x="486" y="419"/>
                  </a:lnTo>
                  <a:lnTo>
                    <a:pt x="486" y="385"/>
                  </a:lnTo>
                  <a:lnTo>
                    <a:pt x="486" y="385"/>
                  </a:lnTo>
                  <a:lnTo>
                    <a:pt x="486" y="353"/>
                  </a:lnTo>
                  <a:lnTo>
                    <a:pt x="483" y="322"/>
                  </a:lnTo>
                  <a:lnTo>
                    <a:pt x="481" y="294"/>
                  </a:lnTo>
                  <a:lnTo>
                    <a:pt x="476" y="268"/>
                  </a:lnTo>
                  <a:lnTo>
                    <a:pt x="471" y="244"/>
                  </a:lnTo>
                  <a:lnTo>
                    <a:pt x="463" y="222"/>
                  </a:lnTo>
                  <a:lnTo>
                    <a:pt x="455" y="202"/>
                  </a:lnTo>
                  <a:lnTo>
                    <a:pt x="445" y="184"/>
                  </a:lnTo>
                  <a:lnTo>
                    <a:pt x="435" y="168"/>
                  </a:lnTo>
                  <a:lnTo>
                    <a:pt x="423" y="154"/>
                  </a:lnTo>
                  <a:lnTo>
                    <a:pt x="409" y="143"/>
                  </a:lnTo>
                  <a:lnTo>
                    <a:pt x="394" y="133"/>
                  </a:lnTo>
                  <a:lnTo>
                    <a:pt x="378" y="126"/>
                  </a:lnTo>
                  <a:lnTo>
                    <a:pt x="361" y="121"/>
                  </a:lnTo>
                  <a:lnTo>
                    <a:pt x="342" y="117"/>
                  </a:lnTo>
                  <a:lnTo>
                    <a:pt x="323" y="116"/>
                  </a:lnTo>
                  <a:close/>
                  <a:moveTo>
                    <a:pt x="537" y="691"/>
                  </a:moveTo>
                  <a:lnTo>
                    <a:pt x="537" y="691"/>
                  </a:lnTo>
                  <a:lnTo>
                    <a:pt x="527" y="701"/>
                  </a:lnTo>
                  <a:lnTo>
                    <a:pt x="516" y="711"/>
                  </a:lnTo>
                  <a:lnTo>
                    <a:pt x="505" y="719"/>
                  </a:lnTo>
                  <a:lnTo>
                    <a:pt x="494" y="727"/>
                  </a:lnTo>
                  <a:lnTo>
                    <a:pt x="482" y="735"/>
                  </a:lnTo>
                  <a:lnTo>
                    <a:pt x="469" y="741"/>
                  </a:lnTo>
                  <a:lnTo>
                    <a:pt x="456" y="747"/>
                  </a:lnTo>
                  <a:lnTo>
                    <a:pt x="444" y="753"/>
                  </a:lnTo>
                  <a:lnTo>
                    <a:pt x="415" y="762"/>
                  </a:lnTo>
                  <a:lnTo>
                    <a:pt x="386" y="768"/>
                  </a:lnTo>
                  <a:lnTo>
                    <a:pt x="355" y="773"/>
                  </a:lnTo>
                  <a:lnTo>
                    <a:pt x="323" y="774"/>
                  </a:lnTo>
                  <a:lnTo>
                    <a:pt x="323" y="774"/>
                  </a:lnTo>
                  <a:lnTo>
                    <a:pt x="303" y="773"/>
                  </a:lnTo>
                  <a:lnTo>
                    <a:pt x="284" y="772"/>
                  </a:lnTo>
                  <a:lnTo>
                    <a:pt x="267" y="769"/>
                  </a:lnTo>
                  <a:lnTo>
                    <a:pt x="249" y="767"/>
                  </a:lnTo>
                  <a:lnTo>
                    <a:pt x="233" y="763"/>
                  </a:lnTo>
                  <a:lnTo>
                    <a:pt x="215" y="758"/>
                  </a:lnTo>
                  <a:lnTo>
                    <a:pt x="200" y="753"/>
                  </a:lnTo>
                  <a:lnTo>
                    <a:pt x="184" y="747"/>
                  </a:lnTo>
                  <a:lnTo>
                    <a:pt x="184" y="747"/>
                  </a:lnTo>
                  <a:lnTo>
                    <a:pt x="170" y="740"/>
                  </a:lnTo>
                  <a:lnTo>
                    <a:pt x="156" y="731"/>
                  </a:lnTo>
                  <a:lnTo>
                    <a:pt x="142" y="722"/>
                  </a:lnTo>
                  <a:lnTo>
                    <a:pt x="130" y="714"/>
                  </a:lnTo>
                  <a:lnTo>
                    <a:pt x="118" y="703"/>
                  </a:lnTo>
                  <a:lnTo>
                    <a:pt x="105" y="691"/>
                  </a:lnTo>
                  <a:lnTo>
                    <a:pt x="94" y="680"/>
                  </a:lnTo>
                  <a:lnTo>
                    <a:pt x="84" y="667"/>
                  </a:lnTo>
                  <a:lnTo>
                    <a:pt x="84" y="667"/>
                  </a:lnTo>
                  <a:lnTo>
                    <a:pt x="75" y="654"/>
                  </a:lnTo>
                  <a:lnTo>
                    <a:pt x="65" y="641"/>
                  </a:lnTo>
                  <a:lnTo>
                    <a:pt x="56" y="626"/>
                  </a:lnTo>
                  <a:lnTo>
                    <a:pt x="47" y="611"/>
                  </a:lnTo>
                  <a:lnTo>
                    <a:pt x="40" y="596"/>
                  </a:lnTo>
                  <a:lnTo>
                    <a:pt x="34" y="579"/>
                  </a:lnTo>
                  <a:lnTo>
                    <a:pt x="26" y="563"/>
                  </a:lnTo>
                  <a:lnTo>
                    <a:pt x="21" y="546"/>
                  </a:lnTo>
                  <a:lnTo>
                    <a:pt x="21" y="546"/>
                  </a:lnTo>
                  <a:lnTo>
                    <a:pt x="17" y="527"/>
                  </a:lnTo>
                  <a:lnTo>
                    <a:pt x="12" y="509"/>
                  </a:lnTo>
                  <a:lnTo>
                    <a:pt x="8" y="490"/>
                  </a:lnTo>
                  <a:lnTo>
                    <a:pt x="5" y="470"/>
                  </a:lnTo>
                  <a:lnTo>
                    <a:pt x="2" y="430"/>
                  </a:lnTo>
                  <a:lnTo>
                    <a:pt x="0" y="386"/>
                  </a:lnTo>
                  <a:lnTo>
                    <a:pt x="0" y="386"/>
                  </a:lnTo>
                  <a:lnTo>
                    <a:pt x="2" y="344"/>
                  </a:lnTo>
                  <a:lnTo>
                    <a:pt x="5" y="304"/>
                  </a:lnTo>
                  <a:lnTo>
                    <a:pt x="8" y="284"/>
                  </a:lnTo>
                  <a:lnTo>
                    <a:pt x="12" y="265"/>
                  </a:lnTo>
                  <a:lnTo>
                    <a:pt x="17" y="247"/>
                  </a:lnTo>
                  <a:lnTo>
                    <a:pt x="21" y="228"/>
                  </a:lnTo>
                  <a:lnTo>
                    <a:pt x="21" y="228"/>
                  </a:lnTo>
                  <a:lnTo>
                    <a:pt x="34" y="194"/>
                  </a:lnTo>
                  <a:lnTo>
                    <a:pt x="40" y="178"/>
                  </a:lnTo>
                  <a:lnTo>
                    <a:pt x="47" y="162"/>
                  </a:lnTo>
                  <a:lnTo>
                    <a:pt x="56" y="147"/>
                  </a:lnTo>
                  <a:lnTo>
                    <a:pt x="65" y="133"/>
                  </a:lnTo>
                  <a:lnTo>
                    <a:pt x="75" y="119"/>
                  </a:lnTo>
                  <a:lnTo>
                    <a:pt x="84" y="106"/>
                  </a:lnTo>
                  <a:lnTo>
                    <a:pt x="84" y="106"/>
                  </a:lnTo>
                  <a:lnTo>
                    <a:pt x="94" y="94"/>
                  </a:lnTo>
                  <a:lnTo>
                    <a:pt x="105" y="81"/>
                  </a:lnTo>
                  <a:lnTo>
                    <a:pt x="118" y="70"/>
                  </a:lnTo>
                  <a:lnTo>
                    <a:pt x="130" y="60"/>
                  </a:lnTo>
                  <a:lnTo>
                    <a:pt x="142" y="51"/>
                  </a:lnTo>
                  <a:lnTo>
                    <a:pt x="156" y="42"/>
                  </a:lnTo>
                  <a:lnTo>
                    <a:pt x="170" y="33"/>
                  </a:lnTo>
                  <a:lnTo>
                    <a:pt x="184" y="27"/>
                  </a:lnTo>
                  <a:lnTo>
                    <a:pt x="184" y="27"/>
                  </a:lnTo>
                  <a:lnTo>
                    <a:pt x="200" y="20"/>
                  </a:lnTo>
                  <a:lnTo>
                    <a:pt x="215" y="15"/>
                  </a:lnTo>
                  <a:lnTo>
                    <a:pt x="231" y="10"/>
                  </a:lnTo>
                  <a:lnTo>
                    <a:pt x="249" y="6"/>
                  </a:lnTo>
                  <a:lnTo>
                    <a:pt x="266" y="4"/>
                  </a:lnTo>
                  <a:lnTo>
                    <a:pt x="284" y="1"/>
                  </a:lnTo>
                  <a:lnTo>
                    <a:pt x="303" y="0"/>
                  </a:lnTo>
                  <a:lnTo>
                    <a:pt x="323" y="0"/>
                  </a:lnTo>
                  <a:lnTo>
                    <a:pt x="323" y="0"/>
                  </a:lnTo>
                  <a:lnTo>
                    <a:pt x="341" y="0"/>
                  </a:lnTo>
                  <a:lnTo>
                    <a:pt x="360" y="1"/>
                  </a:lnTo>
                  <a:lnTo>
                    <a:pt x="377" y="4"/>
                  </a:lnTo>
                  <a:lnTo>
                    <a:pt x="394" y="6"/>
                  </a:lnTo>
                  <a:lnTo>
                    <a:pt x="411" y="10"/>
                  </a:lnTo>
                  <a:lnTo>
                    <a:pt x="428" y="15"/>
                  </a:lnTo>
                  <a:lnTo>
                    <a:pt x="444" y="21"/>
                  </a:lnTo>
                  <a:lnTo>
                    <a:pt x="460" y="27"/>
                  </a:lnTo>
                  <a:lnTo>
                    <a:pt x="460" y="27"/>
                  </a:lnTo>
                  <a:lnTo>
                    <a:pt x="474" y="33"/>
                  </a:lnTo>
                  <a:lnTo>
                    <a:pt x="488" y="42"/>
                  </a:lnTo>
                  <a:lnTo>
                    <a:pt x="502" y="51"/>
                  </a:lnTo>
                  <a:lnTo>
                    <a:pt x="514" y="60"/>
                  </a:lnTo>
                  <a:lnTo>
                    <a:pt x="526" y="70"/>
                  </a:lnTo>
                  <a:lnTo>
                    <a:pt x="539" y="81"/>
                  </a:lnTo>
                  <a:lnTo>
                    <a:pt x="550" y="94"/>
                  </a:lnTo>
                  <a:lnTo>
                    <a:pt x="560" y="106"/>
                  </a:lnTo>
                  <a:lnTo>
                    <a:pt x="560" y="106"/>
                  </a:lnTo>
                  <a:lnTo>
                    <a:pt x="569" y="119"/>
                  </a:lnTo>
                  <a:lnTo>
                    <a:pt x="579" y="133"/>
                  </a:lnTo>
                  <a:lnTo>
                    <a:pt x="588" y="147"/>
                  </a:lnTo>
                  <a:lnTo>
                    <a:pt x="597" y="162"/>
                  </a:lnTo>
                  <a:lnTo>
                    <a:pt x="604" y="178"/>
                  </a:lnTo>
                  <a:lnTo>
                    <a:pt x="611" y="194"/>
                  </a:lnTo>
                  <a:lnTo>
                    <a:pt x="618" y="211"/>
                  </a:lnTo>
                  <a:lnTo>
                    <a:pt x="623" y="228"/>
                  </a:lnTo>
                  <a:lnTo>
                    <a:pt x="623" y="228"/>
                  </a:lnTo>
                  <a:lnTo>
                    <a:pt x="627" y="247"/>
                  </a:lnTo>
                  <a:lnTo>
                    <a:pt x="632" y="265"/>
                  </a:lnTo>
                  <a:lnTo>
                    <a:pt x="636" y="284"/>
                  </a:lnTo>
                  <a:lnTo>
                    <a:pt x="639" y="304"/>
                  </a:lnTo>
                  <a:lnTo>
                    <a:pt x="644" y="344"/>
                  </a:lnTo>
                  <a:lnTo>
                    <a:pt x="645" y="386"/>
                  </a:lnTo>
                  <a:lnTo>
                    <a:pt x="645" y="386"/>
                  </a:lnTo>
                  <a:lnTo>
                    <a:pt x="644" y="411"/>
                  </a:lnTo>
                  <a:lnTo>
                    <a:pt x="642" y="435"/>
                  </a:lnTo>
                  <a:lnTo>
                    <a:pt x="641" y="458"/>
                  </a:lnTo>
                  <a:lnTo>
                    <a:pt x="637" y="480"/>
                  </a:lnTo>
                  <a:lnTo>
                    <a:pt x="634" y="501"/>
                  </a:lnTo>
                  <a:lnTo>
                    <a:pt x="629" y="522"/>
                  </a:lnTo>
                  <a:lnTo>
                    <a:pt x="624" y="543"/>
                  </a:lnTo>
                  <a:lnTo>
                    <a:pt x="618" y="562"/>
                  </a:lnTo>
                  <a:lnTo>
                    <a:pt x="610" y="582"/>
                  </a:lnTo>
                  <a:lnTo>
                    <a:pt x="603" y="599"/>
                  </a:lnTo>
                  <a:lnTo>
                    <a:pt x="594" y="616"/>
                  </a:lnTo>
                  <a:lnTo>
                    <a:pt x="584" y="632"/>
                  </a:lnTo>
                  <a:lnTo>
                    <a:pt x="574" y="648"/>
                  </a:lnTo>
                  <a:lnTo>
                    <a:pt x="562" y="663"/>
                  </a:lnTo>
                  <a:lnTo>
                    <a:pt x="551" y="678"/>
                  </a:lnTo>
                  <a:lnTo>
                    <a:pt x="537" y="6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dirty="0"/>
            </a:p>
          </p:txBody>
        </p:sp>
        <p:sp>
          <p:nvSpPr>
            <p:cNvPr id="11" name="Freeform 203"/>
            <p:cNvSpPr>
              <a:spLocks noEditPoints="1"/>
            </p:cNvSpPr>
            <p:nvPr/>
          </p:nvSpPr>
          <p:spPr bwMode="auto">
            <a:xfrm>
              <a:off x="2875945" y="3868086"/>
              <a:ext cx="551780" cy="989930"/>
            </a:xfrm>
            <a:custGeom>
              <a:avLst/>
              <a:gdLst>
                <a:gd name="T0" fmla="*/ 302 w 607"/>
                <a:gd name="T1" fmla="*/ 130 h 1089"/>
                <a:gd name="T2" fmla="*/ 268 w 607"/>
                <a:gd name="T3" fmla="*/ 136 h 1089"/>
                <a:gd name="T4" fmla="*/ 236 w 607"/>
                <a:gd name="T5" fmla="*/ 148 h 1089"/>
                <a:gd name="T6" fmla="*/ 205 w 607"/>
                <a:gd name="T7" fmla="*/ 167 h 1089"/>
                <a:gd name="T8" fmla="*/ 152 w 607"/>
                <a:gd name="T9" fmla="*/ 226 h 1089"/>
                <a:gd name="T10" fmla="*/ 170 w 607"/>
                <a:gd name="T11" fmla="*/ 604 h 1089"/>
                <a:gd name="T12" fmla="*/ 227 w 607"/>
                <a:gd name="T13" fmla="*/ 631 h 1089"/>
                <a:gd name="T14" fmla="*/ 263 w 607"/>
                <a:gd name="T15" fmla="*/ 642 h 1089"/>
                <a:gd name="T16" fmla="*/ 296 w 607"/>
                <a:gd name="T17" fmla="*/ 646 h 1089"/>
                <a:gd name="T18" fmla="*/ 344 w 607"/>
                <a:gd name="T19" fmla="*/ 636 h 1089"/>
                <a:gd name="T20" fmla="*/ 386 w 607"/>
                <a:gd name="T21" fmla="*/ 607 h 1089"/>
                <a:gd name="T22" fmla="*/ 409 w 607"/>
                <a:gd name="T23" fmla="*/ 578 h 1089"/>
                <a:gd name="T24" fmla="*/ 434 w 607"/>
                <a:gd name="T25" fmla="*/ 517 h 1089"/>
                <a:gd name="T26" fmla="*/ 448 w 607"/>
                <a:gd name="T27" fmla="*/ 442 h 1089"/>
                <a:gd name="T28" fmla="*/ 452 w 607"/>
                <a:gd name="T29" fmla="*/ 382 h 1089"/>
                <a:gd name="T30" fmla="*/ 446 w 607"/>
                <a:gd name="T31" fmla="*/ 294 h 1089"/>
                <a:gd name="T32" fmla="*/ 430 w 607"/>
                <a:gd name="T33" fmla="*/ 226 h 1089"/>
                <a:gd name="T34" fmla="*/ 412 w 607"/>
                <a:gd name="T35" fmla="*/ 190 h 1089"/>
                <a:gd name="T36" fmla="*/ 380 w 607"/>
                <a:gd name="T37" fmla="*/ 153 h 1089"/>
                <a:gd name="T38" fmla="*/ 343 w 607"/>
                <a:gd name="T39" fmla="*/ 133 h 1089"/>
                <a:gd name="T40" fmla="*/ 321 w 607"/>
                <a:gd name="T41" fmla="*/ 768 h 1089"/>
                <a:gd name="T42" fmla="*/ 279 w 607"/>
                <a:gd name="T43" fmla="*/ 764 h 1089"/>
                <a:gd name="T44" fmla="*/ 216 w 607"/>
                <a:gd name="T45" fmla="*/ 748 h 1089"/>
                <a:gd name="T46" fmla="*/ 152 w 607"/>
                <a:gd name="T47" fmla="*/ 719 h 1089"/>
                <a:gd name="T48" fmla="*/ 151 w 607"/>
                <a:gd name="T49" fmla="*/ 1015 h 1089"/>
                <a:gd name="T50" fmla="*/ 141 w 607"/>
                <a:gd name="T51" fmla="*/ 1053 h 1089"/>
                <a:gd name="T52" fmla="*/ 133 w 607"/>
                <a:gd name="T53" fmla="*/ 1066 h 1089"/>
                <a:gd name="T54" fmla="*/ 115 w 607"/>
                <a:gd name="T55" fmla="*/ 1080 h 1089"/>
                <a:gd name="T56" fmla="*/ 90 w 607"/>
                <a:gd name="T57" fmla="*/ 1088 h 1089"/>
                <a:gd name="T58" fmla="*/ 9 w 607"/>
                <a:gd name="T59" fmla="*/ 1089 h 1089"/>
                <a:gd name="T60" fmla="*/ 9 w 607"/>
                <a:gd name="T61" fmla="*/ 14 h 1089"/>
                <a:gd name="T62" fmla="*/ 73 w 607"/>
                <a:gd name="T63" fmla="*/ 15 h 1089"/>
                <a:gd name="T64" fmla="*/ 110 w 607"/>
                <a:gd name="T65" fmla="*/ 27 h 1089"/>
                <a:gd name="T66" fmla="*/ 135 w 607"/>
                <a:gd name="T67" fmla="*/ 56 h 1089"/>
                <a:gd name="T68" fmla="*/ 147 w 607"/>
                <a:gd name="T69" fmla="*/ 89 h 1089"/>
                <a:gd name="T70" fmla="*/ 216 w 607"/>
                <a:gd name="T71" fmla="*/ 35 h 1089"/>
                <a:gd name="T72" fmla="*/ 254 w 607"/>
                <a:gd name="T73" fmla="*/ 17 h 1089"/>
                <a:gd name="T74" fmla="*/ 323 w 607"/>
                <a:gd name="T75" fmla="*/ 1 h 1089"/>
                <a:gd name="T76" fmla="*/ 368 w 607"/>
                <a:gd name="T77" fmla="*/ 0 h 1089"/>
                <a:gd name="T78" fmla="*/ 410 w 607"/>
                <a:gd name="T79" fmla="*/ 6 h 1089"/>
                <a:gd name="T80" fmla="*/ 449 w 607"/>
                <a:gd name="T81" fmla="*/ 20 h 1089"/>
                <a:gd name="T82" fmla="*/ 473 w 607"/>
                <a:gd name="T83" fmla="*/ 33 h 1089"/>
                <a:gd name="T84" fmla="*/ 505 w 607"/>
                <a:gd name="T85" fmla="*/ 59 h 1089"/>
                <a:gd name="T86" fmla="*/ 532 w 607"/>
                <a:gd name="T87" fmla="*/ 91 h 1089"/>
                <a:gd name="T88" fmla="*/ 555 w 607"/>
                <a:gd name="T89" fmla="*/ 131 h 1089"/>
                <a:gd name="T90" fmla="*/ 590 w 607"/>
                <a:gd name="T91" fmla="*/ 225 h 1089"/>
                <a:gd name="T92" fmla="*/ 602 w 607"/>
                <a:gd name="T93" fmla="*/ 300 h 1089"/>
                <a:gd name="T94" fmla="*/ 607 w 607"/>
                <a:gd name="T95" fmla="*/ 385 h 1089"/>
                <a:gd name="T96" fmla="*/ 601 w 607"/>
                <a:gd name="T97" fmla="*/ 469 h 1089"/>
                <a:gd name="T98" fmla="*/ 590 w 607"/>
                <a:gd name="T99" fmla="*/ 527 h 1089"/>
                <a:gd name="T100" fmla="*/ 579 w 607"/>
                <a:gd name="T101" fmla="*/ 563 h 1089"/>
                <a:gd name="T102" fmla="*/ 558 w 607"/>
                <a:gd name="T103" fmla="*/ 611 h 1089"/>
                <a:gd name="T104" fmla="*/ 532 w 607"/>
                <a:gd name="T105" fmla="*/ 653 h 1089"/>
                <a:gd name="T106" fmla="*/ 512 w 607"/>
                <a:gd name="T107" fmla="*/ 678 h 1089"/>
                <a:gd name="T108" fmla="*/ 480 w 607"/>
                <a:gd name="T109" fmla="*/ 710 h 1089"/>
                <a:gd name="T110" fmla="*/ 444 w 607"/>
                <a:gd name="T111" fmla="*/ 735 h 1089"/>
                <a:gd name="T112" fmla="*/ 417 w 607"/>
                <a:gd name="T113" fmla="*/ 748 h 1089"/>
                <a:gd name="T114" fmla="*/ 378 w 607"/>
                <a:gd name="T115" fmla="*/ 762 h 1089"/>
                <a:gd name="T116" fmla="*/ 335 w 607"/>
                <a:gd name="T117" fmla="*/ 768 h 10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07" h="1089">
                  <a:moveTo>
                    <a:pt x="315" y="130"/>
                  </a:moveTo>
                  <a:lnTo>
                    <a:pt x="315" y="130"/>
                  </a:lnTo>
                  <a:lnTo>
                    <a:pt x="302" y="130"/>
                  </a:lnTo>
                  <a:lnTo>
                    <a:pt x="291" y="131"/>
                  </a:lnTo>
                  <a:lnTo>
                    <a:pt x="279" y="132"/>
                  </a:lnTo>
                  <a:lnTo>
                    <a:pt x="268" y="136"/>
                  </a:lnTo>
                  <a:lnTo>
                    <a:pt x="257" y="138"/>
                  </a:lnTo>
                  <a:lnTo>
                    <a:pt x="247" y="143"/>
                  </a:lnTo>
                  <a:lnTo>
                    <a:pt x="236" y="148"/>
                  </a:lnTo>
                  <a:lnTo>
                    <a:pt x="226" y="153"/>
                  </a:lnTo>
                  <a:lnTo>
                    <a:pt x="215" y="159"/>
                  </a:lnTo>
                  <a:lnTo>
                    <a:pt x="205" y="167"/>
                  </a:lnTo>
                  <a:lnTo>
                    <a:pt x="186" y="184"/>
                  </a:lnTo>
                  <a:lnTo>
                    <a:pt x="168" y="204"/>
                  </a:lnTo>
                  <a:lnTo>
                    <a:pt x="152" y="226"/>
                  </a:lnTo>
                  <a:lnTo>
                    <a:pt x="152" y="591"/>
                  </a:lnTo>
                  <a:lnTo>
                    <a:pt x="152" y="591"/>
                  </a:lnTo>
                  <a:lnTo>
                    <a:pt x="170" y="604"/>
                  </a:lnTo>
                  <a:lnTo>
                    <a:pt x="190" y="614"/>
                  </a:lnTo>
                  <a:lnTo>
                    <a:pt x="209" y="624"/>
                  </a:lnTo>
                  <a:lnTo>
                    <a:pt x="227" y="631"/>
                  </a:lnTo>
                  <a:lnTo>
                    <a:pt x="227" y="631"/>
                  </a:lnTo>
                  <a:lnTo>
                    <a:pt x="244" y="638"/>
                  </a:lnTo>
                  <a:lnTo>
                    <a:pt x="263" y="642"/>
                  </a:lnTo>
                  <a:lnTo>
                    <a:pt x="279" y="645"/>
                  </a:lnTo>
                  <a:lnTo>
                    <a:pt x="296" y="646"/>
                  </a:lnTo>
                  <a:lnTo>
                    <a:pt x="296" y="646"/>
                  </a:lnTo>
                  <a:lnTo>
                    <a:pt x="314" y="645"/>
                  </a:lnTo>
                  <a:lnTo>
                    <a:pt x="330" y="642"/>
                  </a:lnTo>
                  <a:lnTo>
                    <a:pt x="344" y="636"/>
                  </a:lnTo>
                  <a:lnTo>
                    <a:pt x="359" y="628"/>
                  </a:lnTo>
                  <a:lnTo>
                    <a:pt x="373" y="619"/>
                  </a:lnTo>
                  <a:lnTo>
                    <a:pt x="386" y="607"/>
                  </a:lnTo>
                  <a:lnTo>
                    <a:pt x="397" y="594"/>
                  </a:lnTo>
                  <a:lnTo>
                    <a:pt x="409" y="578"/>
                  </a:lnTo>
                  <a:lnTo>
                    <a:pt x="409" y="578"/>
                  </a:lnTo>
                  <a:lnTo>
                    <a:pt x="418" y="559"/>
                  </a:lnTo>
                  <a:lnTo>
                    <a:pt x="427" y="540"/>
                  </a:lnTo>
                  <a:lnTo>
                    <a:pt x="434" y="517"/>
                  </a:lnTo>
                  <a:lnTo>
                    <a:pt x="441" y="494"/>
                  </a:lnTo>
                  <a:lnTo>
                    <a:pt x="446" y="469"/>
                  </a:lnTo>
                  <a:lnTo>
                    <a:pt x="448" y="442"/>
                  </a:lnTo>
                  <a:lnTo>
                    <a:pt x="451" y="412"/>
                  </a:lnTo>
                  <a:lnTo>
                    <a:pt x="452" y="382"/>
                  </a:lnTo>
                  <a:lnTo>
                    <a:pt x="452" y="382"/>
                  </a:lnTo>
                  <a:lnTo>
                    <a:pt x="451" y="351"/>
                  </a:lnTo>
                  <a:lnTo>
                    <a:pt x="449" y="321"/>
                  </a:lnTo>
                  <a:lnTo>
                    <a:pt x="446" y="294"/>
                  </a:lnTo>
                  <a:lnTo>
                    <a:pt x="442" y="269"/>
                  </a:lnTo>
                  <a:lnTo>
                    <a:pt x="436" y="247"/>
                  </a:lnTo>
                  <a:lnTo>
                    <a:pt x="430" y="226"/>
                  </a:lnTo>
                  <a:lnTo>
                    <a:pt x="422" y="207"/>
                  </a:lnTo>
                  <a:lnTo>
                    <a:pt x="412" y="190"/>
                  </a:lnTo>
                  <a:lnTo>
                    <a:pt x="412" y="190"/>
                  </a:lnTo>
                  <a:lnTo>
                    <a:pt x="402" y="175"/>
                  </a:lnTo>
                  <a:lnTo>
                    <a:pt x="391" y="163"/>
                  </a:lnTo>
                  <a:lnTo>
                    <a:pt x="380" y="153"/>
                  </a:lnTo>
                  <a:lnTo>
                    <a:pt x="368" y="144"/>
                  </a:lnTo>
                  <a:lnTo>
                    <a:pt x="356" y="138"/>
                  </a:lnTo>
                  <a:lnTo>
                    <a:pt x="343" y="133"/>
                  </a:lnTo>
                  <a:lnTo>
                    <a:pt x="330" y="130"/>
                  </a:lnTo>
                  <a:lnTo>
                    <a:pt x="315" y="130"/>
                  </a:lnTo>
                  <a:close/>
                  <a:moveTo>
                    <a:pt x="321" y="768"/>
                  </a:moveTo>
                  <a:lnTo>
                    <a:pt x="321" y="768"/>
                  </a:lnTo>
                  <a:lnTo>
                    <a:pt x="300" y="767"/>
                  </a:lnTo>
                  <a:lnTo>
                    <a:pt x="279" y="764"/>
                  </a:lnTo>
                  <a:lnTo>
                    <a:pt x="258" y="761"/>
                  </a:lnTo>
                  <a:lnTo>
                    <a:pt x="237" y="756"/>
                  </a:lnTo>
                  <a:lnTo>
                    <a:pt x="216" y="748"/>
                  </a:lnTo>
                  <a:lnTo>
                    <a:pt x="194" y="740"/>
                  </a:lnTo>
                  <a:lnTo>
                    <a:pt x="173" y="730"/>
                  </a:lnTo>
                  <a:lnTo>
                    <a:pt x="152" y="719"/>
                  </a:lnTo>
                  <a:lnTo>
                    <a:pt x="152" y="990"/>
                  </a:lnTo>
                  <a:lnTo>
                    <a:pt x="152" y="990"/>
                  </a:lnTo>
                  <a:lnTo>
                    <a:pt x="151" y="1015"/>
                  </a:lnTo>
                  <a:lnTo>
                    <a:pt x="147" y="1036"/>
                  </a:lnTo>
                  <a:lnTo>
                    <a:pt x="144" y="1045"/>
                  </a:lnTo>
                  <a:lnTo>
                    <a:pt x="141" y="1053"/>
                  </a:lnTo>
                  <a:lnTo>
                    <a:pt x="137" y="1059"/>
                  </a:lnTo>
                  <a:lnTo>
                    <a:pt x="133" y="1066"/>
                  </a:lnTo>
                  <a:lnTo>
                    <a:pt x="133" y="1066"/>
                  </a:lnTo>
                  <a:lnTo>
                    <a:pt x="128" y="1072"/>
                  </a:lnTo>
                  <a:lnTo>
                    <a:pt x="122" y="1077"/>
                  </a:lnTo>
                  <a:lnTo>
                    <a:pt x="115" y="1080"/>
                  </a:lnTo>
                  <a:lnTo>
                    <a:pt x="107" y="1083"/>
                  </a:lnTo>
                  <a:lnTo>
                    <a:pt x="99" y="1087"/>
                  </a:lnTo>
                  <a:lnTo>
                    <a:pt x="90" y="1088"/>
                  </a:lnTo>
                  <a:lnTo>
                    <a:pt x="79" y="1089"/>
                  </a:lnTo>
                  <a:lnTo>
                    <a:pt x="68" y="1089"/>
                  </a:lnTo>
                  <a:lnTo>
                    <a:pt x="9" y="1089"/>
                  </a:lnTo>
                  <a:lnTo>
                    <a:pt x="0" y="1080"/>
                  </a:lnTo>
                  <a:lnTo>
                    <a:pt x="0" y="22"/>
                  </a:lnTo>
                  <a:lnTo>
                    <a:pt x="9" y="14"/>
                  </a:lnTo>
                  <a:lnTo>
                    <a:pt x="56" y="14"/>
                  </a:lnTo>
                  <a:lnTo>
                    <a:pt x="56" y="14"/>
                  </a:lnTo>
                  <a:lnTo>
                    <a:pt x="73" y="15"/>
                  </a:lnTo>
                  <a:lnTo>
                    <a:pt x="89" y="17"/>
                  </a:lnTo>
                  <a:lnTo>
                    <a:pt x="104" y="23"/>
                  </a:lnTo>
                  <a:lnTo>
                    <a:pt x="110" y="27"/>
                  </a:lnTo>
                  <a:lnTo>
                    <a:pt x="116" y="32"/>
                  </a:lnTo>
                  <a:lnTo>
                    <a:pt x="126" y="42"/>
                  </a:lnTo>
                  <a:lnTo>
                    <a:pt x="135" y="56"/>
                  </a:lnTo>
                  <a:lnTo>
                    <a:pt x="142" y="70"/>
                  </a:lnTo>
                  <a:lnTo>
                    <a:pt x="147" y="89"/>
                  </a:lnTo>
                  <a:lnTo>
                    <a:pt x="147" y="89"/>
                  </a:lnTo>
                  <a:lnTo>
                    <a:pt x="168" y="68"/>
                  </a:lnTo>
                  <a:lnTo>
                    <a:pt x="191" y="49"/>
                  </a:lnTo>
                  <a:lnTo>
                    <a:pt x="216" y="35"/>
                  </a:lnTo>
                  <a:lnTo>
                    <a:pt x="228" y="28"/>
                  </a:lnTo>
                  <a:lnTo>
                    <a:pt x="241" y="22"/>
                  </a:lnTo>
                  <a:lnTo>
                    <a:pt x="254" y="17"/>
                  </a:lnTo>
                  <a:lnTo>
                    <a:pt x="268" y="12"/>
                  </a:lnTo>
                  <a:lnTo>
                    <a:pt x="295" y="5"/>
                  </a:lnTo>
                  <a:lnTo>
                    <a:pt x="323" y="1"/>
                  </a:lnTo>
                  <a:lnTo>
                    <a:pt x="353" y="0"/>
                  </a:lnTo>
                  <a:lnTo>
                    <a:pt x="353" y="0"/>
                  </a:lnTo>
                  <a:lnTo>
                    <a:pt x="368" y="0"/>
                  </a:lnTo>
                  <a:lnTo>
                    <a:pt x="383" y="1"/>
                  </a:lnTo>
                  <a:lnTo>
                    <a:pt x="396" y="4"/>
                  </a:lnTo>
                  <a:lnTo>
                    <a:pt x="410" y="6"/>
                  </a:lnTo>
                  <a:lnTo>
                    <a:pt x="423" y="10"/>
                  </a:lnTo>
                  <a:lnTo>
                    <a:pt x="436" y="15"/>
                  </a:lnTo>
                  <a:lnTo>
                    <a:pt x="449" y="20"/>
                  </a:lnTo>
                  <a:lnTo>
                    <a:pt x="460" y="27"/>
                  </a:lnTo>
                  <a:lnTo>
                    <a:pt x="460" y="27"/>
                  </a:lnTo>
                  <a:lnTo>
                    <a:pt x="473" y="33"/>
                  </a:lnTo>
                  <a:lnTo>
                    <a:pt x="484" y="41"/>
                  </a:lnTo>
                  <a:lnTo>
                    <a:pt x="495" y="49"/>
                  </a:lnTo>
                  <a:lnTo>
                    <a:pt x="505" y="59"/>
                  </a:lnTo>
                  <a:lnTo>
                    <a:pt x="515" y="69"/>
                  </a:lnTo>
                  <a:lnTo>
                    <a:pt x="523" y="80"/>
                  </a:lnTo>
                  <a:lnTo>
                    <a:pt x="532" y="91"/>
                  </a:lnTo>
                  <a:lnTo>
                    <a:pt x="541" y="104"/>
                  </a:lnTo>
                  <a:lnTo>
                    <a:pt x="541" y="104"/>
                  </a:lnTo>
                  <a:lnTo>
                    <a:pt x="555" y="131"/>
                  </a:lnTo>
                  <a:lnTo>
                    <a:pt x="569" y="159"/>
                  </a:lnTo>
                  <a:lnTo>
                    <a:pt x="580" y="191"/>
                  </a:lnTo>
                  <a:lnTo>
                    <a:pt x="590" y="225"/>
                  </a:lnTo>
                  <a:lnTo>
                    <a:pt x="590" y="225"/>
                  </a:lnTo>
                  <a:lnTo>
                    <a:pt x="597" y="262"/>
                  </a:lnTo>
                  <a:lnTo>
                    <a:pt x="602" y="300"/>
                  </a:lnTo>
                  <a:lnTo>
                    <a:pt x="606" y="342"/>
                  </a:lnTo>
                  <a:lnTo>
                    <a:pt x="607" y="385"/>
                  </a:lnTo>
                  <a:lnTo>
                    <a:pt x="607" y="385"/>
                  </a:lnTo>
                  <a:lnTo>
                    <a:pt x="606" y="428"/>
                  </a:lnTo>
                  <a:lnTo>
                    <a:pt x="604" y="449"/>
                  </a:lnTo>
                  <a:lnTo>
                    <a:pt x="601" y="469"/>
                  </a:lnTo>
                  <a:lnTo>
                    <a:pt x="599" y="489"/>
                  </a:lnTo>
                  <a:lnTo>
                    <a:pt x="595" y="509"/>
                  </a:lnTo>
                  <a:lnTo>
                    <a:pt x="590" y="527"/>
                  </a:lnTo>
                  <a:lnTo>
                    <a:pt x="585" y="546"/>
                  </a:lnTo>
                  <a:lnTo>
                    <a:pt x="585" y="546"/>
                  </a:lnTo>
                  <a:lnTo>
                    <a:pt x="579" y="563"/>
                  </a:lnTo>
                  <a:lnTo>
                    <a:pt x="573" y="579"/>
                  </a:lnTo>
                  <a:lnTo>
                    <a:pt x="565" y="596"/>
                  </a:lnTo>
                  <a:lnTo>
                    <a:pt x="558" y="611"/>
                  </a:lnTo>
                  <a:lnTo>
                    <a:pt x="551" y="626"/>
                  </a:lnTo>
                  <a:lnTo>
                    <a:pt x="542" y="641"/>
                  </a:lnTo>
                  <a:lnTo>
                    <a:pt x="532" y="653"/>
                  </a:lnTo>
                  <a:lnTo>
                    <a:pt x="523" y="667"/>
                  </a:lnTo>
                  <a:lnTo>
                    <a:pt x="523" y="667"/>
                  </a:lnTo>
                  <a:lnTo>
                    <a:pt x="512" y="678"/>
                  </a:lnTo>
                  <a:lnTo>
                    <a:pt x="502" y="689"/>
                  </a:lnTo>
                  <a:lnTo>
                    <a:pt x="491" y="700"/>
                  </a:lnTo>
                  <a:lnTo>
                    <a:pt x="480" y="710"/>
                  </a:lnTo>
                  <a:lnTo>
                    <a:pt x="468" y="719"/>
                  </a:lnTo>
                  <a:lnTo>
                    <a:pt x="457" y="727"/>
                  </a:lnTo>
                  <a:lnTo>
                    <a:pt x="444" y="735"/>
                  </a:lnTo>
                  <a:lnTo>
                    <a:pt x="431" y="742"/>
                  </a:lnTo>
                  <a:lnTo>
                    <a:pt x="431" y="742"/>
                  </a:lnTo>
                  <a:lnTo>
                    <a:pt x="417" y="748"/>
                  </a:lnTo>
                  <a:lnTo>
                    <a:pt x="405" y="753"/>
                  </a:lnTo>
                  <a:lnTo>
                    <a:pt x="391" y="758"/>
                  </a:lnTo>
                  <a:lnTo>
                    <a:pt x="378" y="762"/>
                  </a:lnTo>
                  <a:lnTo>
                    <a:pt x="363" y="764"/>
                  </a:lnTo>
                  <a:lnTo>
                    <a:pt x="349" y="767"/>
                  </a:lnTo>
                  <a:lnTo>
                    <a:pt x="335" y="768"/>
                  </a:lnTo>
                  <a:lnTo>
                    <a:pt x="321" y="7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dirty="0"/>
            </a:p>
          </p:txBody>
        </p:sp>
        <p:sp>
          <p:nvSpPr>
            <p:cNvPr id="12" name="Freeform 206"/>
            <p:cNvSpPr>
              <a:spLocks/>
            </p:cNvSpPr>
            <p:nvPr/>
          </p:nvSpPr>
          <p:spPr bwMode="auto">
            <a:xfrm>
              <a:off x="3564079" y="3876267"/>
              <a:ext cx="594503" cy="689951"/>
            </a:xfrm>
            <a:custGeom>
              <a:avLst/>
              <a:gdLst>
                <a:gd name="T0" fmla="*/ 26 w 654"/>
                <a:gd name="T1" fmla="*/ 168 h 759"/>
                <a:gd name="T2" fmla="*/ 22 w 654"/>
                <a:gd name="T3" fmla="*/ 107 h 759"/>
                <a:gd name="T4" fmla="*/ 11 w 654"/>
                <a:gd name="T5" fmla="*/ 59 h 759"/>
                <a:gd name="T6" fmla="*/ 0 w 654"/>
                <a:gd name="T7" fmla="*/ 33 h 759"/>
                <a:gd name="T8" fmla="*/ 32 w 654"/>
                <a:gd name="T9" fmla="*/ 13 h 759"/>
                <a:gd name="T10" fmla="*/ 69 w 654"/>
                <a:gd name="T11" fmla="*/ 2 h 759"/>
                <a:gd name="T12" fmla="*/ 97 w 654"/>
                <a:gd name="T13" fmla="*/ 0 h 759"/>
                <a:gd name="T14" fmla="*/ 124 w 654"/>
                <a:gd name="T15" fmla="*/ 3 h 759"/>
                <a:gd name="T16" fmla="*/ 146 w 654"/>
                <a:gd name="T17" fmla="*/ 13 h 759"/>
                <a:gd name="T18" fmla="*/ 163 w 654"/>
                <a:gd name="T19" fmla="*/ 30 h 759"/>
                <a:gd name="T20" fmla="*/ 174 w 654"/>
                <a:gd name="T21" fmla="*/ 54 h 759"/>
                <a:gd name="T22" fmla="*/ 179 w 654"/>
                <a:gd name="T23" fmla="*/ 97 h 759"/>
                <a:gd name="T24" fmla="*/ 180 w 654"/>
                <a:gd name="T25" fmla="*/ 511 h 759"/>
                <a:gd name="T26" fmla="*/ 186 w 654"/>
                <a:gd name="T27" fmla="*/ 554 h 759"/>
                <a:gd name="T28" fmla="*/ 198 w 654"/>
                <a:gd name="T29" fmla="*/ 586 h 759"/>
                <a:gd name="T30" fmla="*/ 209 w 654"/>
                <a:gd name="T31" fmla="*/ 600 h 759"/>
                <a:gd name="T32" fmla="*/ 234 w 654"/>
                <a:gd name="T33" fmla="*/ 613 h 759"/>
                <a:gd name="T34" fmla="*/ 267 w 654"/>
                <a:gd name="T35" fmla="*/ 618 h 759"/>
                <a:gd name="T36" fmla="*/ 304 w 654"/>
                <a:gd name="T37" fmla="*/ 616 h 759"/>
                <a:gd name="T38" fmla="*/ 366 w 654"/>
                <a:gd name="T39" fmla="*/ 595 h 759"/>
                <a:gd name="T40" fmla="*/ 414 w 654"/>
                <a:gd name="T41" fmla="*/ 565 h 759"/>
                <a:gd name="T42" fmla="*/ 458 w 654"/>
                <a:gd name="T43" fmla="*/ 10 h 759"/>
                <a:gd name="T44" fmla="*/ 533 w 654"/>
                <a:gd name="T45" fmla="*/ 5 h 759"/>
                <a:gd name="T46" fmla="*/ 612 w 654"/>
                <a:gd name="T47" fmla="*/ 10 h 759"/>
                <a:gd name="T48" fmla="*/ 613 w 654"/>
                <a:gd name="T49" fmla="*/ 563 h 759"/>
                <a:gd name="T50" fmla="*/ 623 w 654"/>
                <a:gd name="T51" fmla="*/ 624 h 759"/>
                <a:gd name="T52" fmla="*/ 644 w 654"/>
                <a:gd name="T53" fmla="*/ 668 h 759"/>
                <a:gd name="T54" fmla="*/ 650 w 654"/>
                <a:gd name="T55" fmla="*/ 691 h 759"/>
                <a:gd name="T56" fmla="*/ 632 w 654"/>
                <a:gd name="T57" fmla="*/ 724 h 759"/>
                <a:gd name="T58" fmla="*/ 606 w 654"/>
                <a:gd name="T59" fmla="*/ 750 h 759"/>
                <a:gd name="T60" fmla="*/ 574 w 654"/>
                <a:gd name="T61" fmla="*/ 750 h 759"/>
                <a:gd name="T62" fmla="*/ 534 w 654"/>
                <a:gd name="T63" fmla="*/ 733 h 759"/>
                <a:gd name="T64" fmla="*/ 509 w 654"/>
                <a:gd name="T65" fmla="*/ 715 h 759"/>
                <a:gd name="T66" fmla="*/ 491 w 654"/>
                <a:gd name="T67" fmla="*/ 690 h 759"/>
                <a:gd name="T68" fmla="*/ 471 w 654"/>
                <a:gd name="T69" fmla="*/ 649 h 759"/>
                <a:gd name="T70" fmla="*/ 412 w 654"/>
                <a:gd name="T71" fmla="*/ 697 h 759"/>
                <a:gd name="T72" fmla="*/ 366 w 654"/>
                <a:gd name="T73" fmla="*/ 724 h 759"/>
                <a:gd name="T74" fmla="*/ 319 w 654"/>
                <a:gd name="T75" fmla="*/ 743 h 759"/>
                <a:gd name="T76" fmla="*/ 271 w 654"/>
                <a:gd name="T77" fmla="*/ 755 h 759"/>
                <a:gd name="T78" fmla="*/ 223 w 654"/>
                <a:gd name="T79" fmla="*/ 759 h 759"/>
                <a:gd name="T80" fmla="*/ 176 w 654"/>
                <a:gd name="T81" fmla="*/ 755 h 759"/>
                <a:gd name="T82" fmla="*/ 119 w 654"/>
                <a:gd name="T83" fmla="*/ 733 h 759"/>
                <a:gd name="T84" fmla="*/ 75 w 654"/>
                <a:gd name="T85" fmla="*/ 692 h 759"/>
                <a:gd name="T86" fmla="*/ 53 w 654"/>
                <a:gd name="T87" fmla="*/ 655 h 759"/>
                <a:gd name="T88" fmla="*/ 32 w 654"/>
                <a:gd name="T89" fmla="*/ 591 h 759"/>
                <a:gd name="T90" fmla="*/ 26 w 654"/>
                <a:gd name="T91" fmla="*/ 515 h 7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654" h="759">
                  <a:moveTo>
                    <a:pt x="26" y="515"/>
                  </a:moveTo>
                  <a:lnTo>
                    <a:pt x="26" y="168"/>
                  </a:lnTo>
                  <a:lnTo>
                    <a:pt x="26" y="168"/>
                  </a:lnTo>
                  <a:lnTo>
                    <a:pt x="24" y="145"/>
                  </a:lnTo>
                  <a:lnTo>
                    <a:pt x="23" y="126"/>
                  </a:lnTo>
                  <a:lnTo>
                    <a:pt x="22" y="107"/>
                  </a:lnTo>
                  <a:lnTo>
                    <a:pt x="18" y="89"/>
                  </a:lnTo>
                  <a:lnTo>
                    <a:pt x="16" y="72"/>
                  </a:lnTo>
                  <a:lnTo>
                    <a:pt x="11" y="59"/>
                  </a:lnTo>
                  <a:lnTo>
                    <a:pt x="6" y="45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9" y="26"/>
                  </a:lnTo>
                  <a:lnTo>
                    <a:pt x="21" y="18"/>
                  </a:lnTo>
                  <a:lnTo>
                    <a:pt x="32" y="13"/>
                  </a:lnTo>
                  <a:lnTo>
                    <a:pt x="43" y="8"/>
                  </a:lnTo>
                  <a:lnTo>
                    <a:pt x="55" y="5"/>
                  </a:lnTo>
                  <a:lnTo>
                    <a:pt x="69" y="2"/>
                  </a:lnTo>
                  <a:lnTo>
                    <a:pt x="82" y="1"/>
                  </a:lnTo>
                  <a:lnTo>
                    <a:pt x="97" y="0"/>
                  </a:lnTo>
                  <a:lnTo>
                    <a:pt x="97" y="0"/>
                  </a:lnTo>
                  <a:lnTo>
                    <a:pt x="107" y="1"/>
                  </a:lnTo>
                  <a:lnTo>
                    <a:pt x="116" y="2"/>
                  </a:lnTo>
                  <a:lnTo>
                    <a:pt x="124" y="3"/>
                  </a:lnTo>
                  <a:lnTo>
                    <a:pt x="133" y="6"/>
                  </a:lnTo>
                  <a:lnTo>
                    <a:pt x="140" y="10"/>
                  </a:lnTo>
                  <a:lnTo>
                    <a:pt x="146" y="13"/>
                  </a:lnTo>
                  <a:lnTo>
                    <a:pt x="153" y="18"/>
                  </a:lnTo>
                  <a:lnTo>
                    <a:pt x="158" y="24"/>
                  </a:lnTo>
                  <a:lnTo>
                    <a:pt x="163" y="30"/>
                  </a:lnTo>
                  <a:lnTo>
                    <a:pt x="167" y="38"/>
                  </a:lnTo>
                  <a:lnTo>
                    <a:pt x="171" y="45"/>
                  </a:lnTo>
                  <a:lnTo>
                    <a:pt x="174" y="54"/>
                  </a:lnTo>
                  <a:lnTo>
                    <a:pt x="176" y="64"/>
                  </a:lnTo>
                  <a:lnTo>
                    <a:pt x="177" y="74"/>
                  </a:lnTo>
                  <a:lnTo>
                    <a:pt x="179" y="97"/>
                  </a:lnTo>
                  <a:lnTo>
                    <a:pt x="179" y="475"/>
                  </a:lnTo>
                  <a:lnTo>
                    <a:pt x="179" y="475"/>
                  </a:lnTo>
                  <a:lnTo>
                    <a:pt x="180" y="511"/>
                  </a:lnTo>
                  <a:lnTo>
                    <a:pt x="182" y="527"/>
                  </a:lnTo>
                  <a:lnTo>
                    <a:pt x="184" y="542"/>
                  </a:lnTo>
                  <a:lnTo>
                    <a:pt x="186" y="554"/>
                  </a:lnTo>
                  <a:lnTo>
                    <a:pt x="190" y="566"/>
                  </a:lnTo>
                  <a:lnTo>
                    <a:pt x="193" y="576"/>
                  </a:lnTo>
                  <a:lnTo>
                    <a:pt x="198" y="586"/>
                  </a:lnTo>
                  <a:lnTo>
                    <a:pt x="198" y="586"/>
                  </a:lnTo>
                  <a:lnTo>
                    <a:pt x="203" y="594"/>
                  </a:lnTo>
                  <a:lnTo>
                    <a:pt x="209" y="600"/>
                  </a:lnTo>
                  <a:lnTo>
                    <a:pt x="217" y="606"/>
                  </a:lnTo>
                  <a:lnTo>
                    <a:pt x="225" y="610"/>
                  </a:lnTo>
                  <a:lnTo>
                    <a:pt x="234" y="613"/>
                  </a:lnTo>
                  <a:lnTo>
                    <a:pt x="244" y="617"/>
                  </a:lnTo>
                  <a:lnTo>
                    <a:pt x="255" y="618"/>
                  </a:lnTo>
                  <a:lnTo>
                    <a:pt x="267" y="618"/>
                  </a:lnTo>
                  <a:lnTo>
                    <a:pt x="267" y="618"/>
                  </a:lnTo>
                  <a:lnTo>
                    <a:pt x="292" y="617"/>
                  </a:lnTo>
                  <a:lnTo>
                    <a:pt x="304" y="616"/>
                  </a:lnTo>
                  <a:lnTo>
                    <a:pt x="317" y="613"/>
                  </a:lnTo>
                  <a:lnTo>
                    <a:pt x="341" y="605"/>
                  </a:lnTo>
                  <a:lnTo>
                    <a:pt x="366" y="595"/>
                  </a:lnTo>
                  <a:lnTo>
                    <a:pt x="366" y="595"/>
                  </a:lnTo>
                  <a:lnTo>
                    <a:pt x="391" y="581"/>
                  </a:lnTo>
                  <a:lnTo>
                    <a:pt x="414" y="565"/>
                  </a:lnTo>
                  <a:lnTo>
                    <a:pt x="437" y="548"/>
                  </a:lnTo>
                  <a:lnTo>
                    <a:pt x="458" y="528"/>
                  </a:lnTo>
                  <a:lnTo>
                    <a:pt x="458" y="10"/>
                  </a:lnTo>
                  <a:lnTo>
                    <a:pt x="458" y="10"/>
                  </a:lnTo>
                  <a:lnTo>
                    <a:pt x="497" y="6"/>
                  </a:lnTo>
                  <a:lnTo>
                    <a:pt x="533" y="5"/>
                  </a:lnTo>
                  <a:lnTo>
                    <a:pt x="533" y="5"/>
                  </a:lnTo>
                  <a:lnTo>
                    <a:pt x="570" y="6"/>
                  </a:lnTo>
                  <a:lnTo>
                    <a:pt x="612" y="10"/>
                  </a:lnTo>
                  <a:lnTo>
                    <a:pt x="612" y="537"/>
                  </a:lnTo>
                  <a:lnTo>
                    <a:pt x="612" y="537"/>
                  </a:lnTo>
                  <a:lnTo>
                    <a:pt x="613" y="563"/>
                  </a:lnTo>
                  <a:lnTo>
                    <a:pt x="614" y="585"/>
                  </a:lnTo>
                  <a:lnTo>
                    <a:pt x="618" y="606"/>
                  </a:lnTo>
                  <a:lnTo>
                    <a:pt x="623" y="624"/>
                  </a:lnTo>
                  <a:lnTo>
                    <a:pt x="628" y="642"/>
                  </a:lnTo>
                  <a:lnTo>
                    <a:pt x="635" y="655"/>
                  </a:lnTo>
                  <a:lnTo>
                    <a:pt x="644" y="668"/>
                  </a:lnTo>
                  <a:lnTo>
                    <a:pt x="654" y="679"/>
                  </a:lnTo>
                  <a:lnTo>
                    <a:pt x="654" y="679"/>
                  </a:lnTo>
                  <a:lnTo>
                    <a:pt x="650" y="691"/>
                  </a:lnTo>
                  <a:lnTo>
                    <a:pt x="644" y="703"/>
                  </a:lnTo>
                  <a:lnTo>
                    <a:pt x="638" y="715"/>
                  </a:lnTo>
                  <a:lnTo>
                    <a:pt x="632" y="724"/>
                  </a:lnTo>
                  <a:lnTo>
                    <a:pt x="624" y="734"/>
                  </a:lnTo>
                  <a:lnTo>
                    <a:pt x="615" y="743"/>
                  </a:lnTo>
                  <a:lnTo>
                    <a:pt x="606" y="750"/>
                  </a:lnTo>
                  <a:lnTo>
                    <a:pt x="596" y="757"/>
                  </a:lnTo>
                  <a:lnTo>
                    <a:pt x="596" y="757"/>
                  </a:lnTo>
                  <a:lnTo>
                    <a:pt x="574" y="750"/>
                  </a:lnTo>
                  <a:lnTo>
                    <a:pt x="553" y="743"/>
                  </a:lnTo>
                  <a:lnTo>
                    <a:pt x="543" y="739"/>
                  </a:lnTo>
                  <a:lnTo>
                    <a:pt x="534" y="733"/>
                  </a:lnTo>
                  <a:lnTo>
                    <a:pt x="525" y="728"/>
                  </a:lnTo>
                  <a:lnTo>
                    <a:pt x="518" y="721"/>
                  </a:lnTo>
                  <a:lnTo>
                    <a:pt x="509" y="715"/>
                  </a:lnTo>
                  <a:lnTo>
                    <a:pt x="503" y="707"/>
                  </a:lnTo>
                  <a:lnTo>
                    <a:pt x="496" y="698"/>
                  </a:lnTo>
                  <a:lnTo>
                    <a:pt x="491" y="690"/>
                  </a:lnTo>
                  <a:lnTo>
                    <a:pt x="480" y="670"/>
                  </a:lnTo>
                  <a:lnTo>
                    <a:pt x="471" y="649"/>
                  </a:lnTo>
                  <a:lnTo>
                    <a:pt x="471" y="649"/>
                  </a:lnTo>
                  <a:lnTo>
                    <a:pt x="441" y="675"/>
                  </a:lnTo>
                  <a:lnTo>
                    <a:pt x="427" y="686"/>
                  </a:lnTo>
                  <a:lnTo>
                    <a:pt x="412" y="697"/>
                  </a:lnTo>
                  <a:lnTo>
                    <a:pt x="397" y="707"/>
                  </a:lnTo>
                  <a:lnTo>
                    <a:pt x="381" y="716"/>
                  </a:lnTo>
                  <a:lnTo>
                    <a:pt x="366" y="724"/>
                  </a:lnTo>
                  <a:lnTo>
                    <a:pt x="350" y="732"/>
                  </a:lnTo>
                  <a:lnTo>
                    <a:pt x="335" y="738"/>
                  </a:lnTo>
                  <a:lnTo>
                    <a:pt x="319" y="743"/>
                  </a:lnTo>
                  <a:lnTo>
                    <a:pt x="303" y="748"/>
                  </a:lnTo>
                  <a:lnTo>
                    <a:pt x="287" y="752"/>
                  </a:lnTo>
                  <a:lnTo>
                    <a:pt x="271" y="755"/>
                  </a:lnTo>
                  <a:lnTo>
                    <a:pt x="255" y="758"/>
                  </a:lnTo>
                  <a:lnTo>
                    <a:pt x="239" y="759"/>
                  </a:lnTo>
                  <a:lnTo>
                    <a:pt x="223" y="759"/>
                  </a:lnTo>
                  <a:lnTo>
                    <a:pt x="223" y="759"/>
                  </a:lnTo>
                  <a:lnTo>
                    <a:pt x="198" y="758"/>
                  </a:lnTo>
                  <a:lnTo>
                    <a:pt x="176" y="755"/>
                  </a:lnTo>
                  <a:lnTo>
                    <a:pt x="155" y="749"/>
                  </a:lnTo>
                  <a:lnTo>
                    <a:pt x="137" y="742"/>
                  </a:lnTo>
                  <a:lnTo>
                    <a:pt x="119" y="733"/>
                  </a:lnTo>
                  <a:lnTo>
                    <a:pt x="103" y="722"/>
                  </a:lnTo>
                  <a:lnTo>
                    <a:pt x="88" y="708"/>
                  </a:lnTo>
                  <a:lnTo>
                    <a:pt x="75" y="692"/>
                  </a:lnTo>
                  <a:lnTo>
                    <a:pt x="75" y="692"/>
                  </a:lnTo>
                  <a:lnTo>
                    <a:pt x="64" y="675"/>
                  </a:lnTo>
                  <a:lnTo>
                    <a:pt x="53" y="655"/>
                  </a:lnTo>
                  <a:lnTo>
                    <a:pt x="44" y="636"/>
                  </a:lnTo>
                  <a:lnTo>
                    <a:pt x="38" y="613"/>
                  </a:lnTo>
                  <a:lnTo>
                    <a:pt x="32" y="591"/>
                  </a:lnTo>
                  <a:lnTo>
                    <a:pt x="28" y="566"/>
                  </a:lnTo>
                  <a:lnTo>
                    <a:pt x="26" y="540"/>
                  </a:lnTo>
                  <a:lnTo>
                    <a:pt x="26" y="5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dirty="0"/>
            </a:p>
          </p:txBody>
        </p:sp>
        <p:sp>
          <p:nvSpPr>
            <p:cNvPr id="13" name="Freeform 208"/>
            <p:cNvSpPr>
              <a:spLocks/>
            </p:cNvSpPr>
            <p:nvPr/>
          </p:nvSpPr>
          <p:spPr bwMode="auto">
            <a:xfrm>
              <a:off x="4328570" y="3559017"/>
              <a:ext cx="253619" cy="1000838"/>
            </a:xfrm>
            <a:custGeom>
              <a:avLst/>
              <a:gdLst>
                <a:gd name="T0" fmla="*/ 210 w 279"/>
                <a:gd name="T1" fmla="*/ 978 h 1101"/>
                <a:gd name="T2" fmla="*/ 266 w 279"/>
                <a:gd name="T3" fmla="*/ 978 h 1101"/>
                <a:gd name="T4" fmla="*/ 266 w 279"/>
                <a:gd name="T5" fmla="*/ 978 h 1101"/>
                <a:gd name="T6" fmla="*/ 272 w 279"/>
                <a:gd name="T7" fmla="*/ 997 h 1101"/>
                <a:gd name="T8" fmla="*/ 276 w 279"/>
                <a:gd name="T9" fmla="*/ 1014 h 1101"/>
                <a:gd name="T10" fmla="*/ 278 w 279"/>
                <a:gd name="T11" fmla="*/ 1030 h 1101"/>
                <a:gd name="T12" fmla="*/ 279 w 279"/>
                <a:gd name="T13" fmla="*/ 1045 h 1101"/>
                <a:gd name="T14" fmla="*/ 279 w 279"/>
                <a:gd name="T15" fmla="*/ 1045 h 1101"/>
                <a:gd name="T16" fmla="*/ 279 w 279"/>
                <a:gd name="T17" fmla="*/ 1059 h 1101"/>
                <a:gd name="T18" fmla="*/ 278 w 279"/>
                <a:gd name="T19" fmla="*/ 1071 h 1101"/>
                <a:gd name="T20" fmla="*/ 274 w 279"/>
                <a:gd name="T21" fmla="*/ 1091 h 1101"/>
                <a:gd name="T22" fmla="*/ 274 w 279"/>
                <a:gd name="T23" fmla="*/ 1091 h 1101"/>
                <a:gd name="T24" fmla="*/ 243 w 279"/>
                <a:gd name="T25" fmla="*/ 1096 h 1101"/>
                <a:gd name="T26" fmla="*/ 213 w 279"/>
                <a:gd name="T27" fmla="*/ 1098 h 1101"/>
                <a:gd name="T28" fmla="*/ 181 w 279"/>
                <a:gd name="T29" fmla="*/ 1101 h 1101"/>
                <a:gd name="T30" fmla="*/ 147 w 279"/>
                <a:gd name="T31" fmla="*/ 1101 h 1101"/>
                <a:gd name="T32" fmla="*/ 147 w 279"/>
                <a:gd name="T33" fmla="*/ 1101 h 1101"/>
                <a:gd name="T34" fmla="*/ 130 w 279"/>
                <a:gd name="T35" fmla="*/ 1101 h 1101"/>
                <a:gd name="T36" fmla="*/ 113 w 279"/>
                <a:gd name="T37" fmla="*/ 1099 h 1101"/>
                <a:gd name="T38" fmla="*/ 98 w 279"/>
                <a:gd name="T39" fmla="*/ 1096 h 1101"/>
                <a:gd name="T40" fmla="*/ 83 w 279"/>
                <a:gd name="T41" fmla="*/ 1092 h 1101"/>
                <a:gd name="T42" fmla="*/ 71 w 279"/>
                <a:gd name="T43" fmla="*/ 1086 h 1101"/>
                <a:gd name="T44" fmla="*/ 58 w 279"/>
                <a:gd name="T45" fmla="*/ 1080 h 1101"/>
                <a:gd name="T46" fmla="*/ 47 w 279"/>
                <a:gd name="T47" fmla="*/ 1072 h 1101"/>
                <a:gd name="T48" fmla="*/ 37 w 279"/>
                <a:gd name="T49" fmla="*/ 1062 h 1101"/>
                <a:gd name="T50" fmla="*/ 29 w 279"/>
                <a:gd name="T51" fmla="*/ 1052 h 1101"/>
                <a:gd name="T52" fmla="*/ 21 w 279"/>
                <a:gd name="T53" fmla="*/ 1041 h 1101"/>
                <a:gd name="T54" fmla="*/ 15 w 279"/>
                <a:gd name="T55" fmla="*/ 1029 h 1101"/>
                <a:gd name="T56" fmla="*/ 10 w 279"/>
                <a:gd name="T57" fmla="*/ 1014 h 1101"/>
                <a:gd name="T58" fmla="*/ 5 w 279"/>
                <a:gd name="T59" fmla="*/ 999 h 1101"/>
                <a:gd name="T60" fmla="*/ 3 w 279"/>
                <a:gd name="T61" fmla="*/ 983 h 1101"/>
                <a:gd name="T62" fmla="*/ 2 w 279"/>
                <a:gd name="T63" fmla="*/ 966 h 1101"/>
                <a:gd name="T64" fmla="*/ 0 w 279"/>
                <a:gd name="T65" fmla="*/ 947 h 1101"/>
                <a:gd name="T66" fmla="*/ 0 w 279"/>
                <a:gd name="T67" fmla="*/ 9 h 1101"/>
                <a:gd name="T68" fmla="*/ 11 w 279"/>
                <a:gd name="T69" fmla="*/ 0 h 1101"/>
                <a:gd name="T70" fmla="*/ 69 w 279"/>
                <a:gd name="T71" fmla="*/ 0 h 1101"/>
                <a:gd name="T72" fmla="*/ 69 w 279"/>
                <a:gd name="T73" fmla="*/ 0 h 1101"/>
                <a:gd name="T74" fmla="*/ 81 w 279"/>
                <a:gd name="T75" fmla="*/ 0 h 1101"/>
                <a:gd name="T76" fmla="*/ 90 w 279"/>
                <a:gd name="T77" fmla="*/ 2 h 1101"/>
                <a:gd name="T78" fmla="*/ 100 w 279"/>
                <a:gd name="T79" fmla="*/ 3 h 1101"/>
                <a:gd name="T80" fmla="*/ 109 w 279"/>
                <a:gd name="T81" fmla="*/ 5 h 1101"/>
                <a:gd name="T82" fmla="*/ 116 w 279"/>
                <a:gd name="T83" fmla="*/ 9 h 1101"/>
                <a:gd name="T84" fmla="*/ 123 w 279"/>
                <a:gd name="T85" fmla="*/ 13 h 1101"/>
                <a:gd name="T86" fmla="*/ 129 w 279"/>
                <a:gd name="T87" fmla="*/ 18 h 1101"/>
                <a:gd name="T88" fmla="*/ 134 w 279"/>
                <a:gd name="T89" fmla="*/ 23 h 1101"/>
                <a:gd name="T90" fmla="*/ 134 w 279"/>
                <a:gd name="T91" fmla="*/ 23 h 1101"/>
                <a:gd name="T92" fmla="*/ 139 w 279"/>
                <a:gd name="T93" fmla="*/ 29 h 1101"/>
                <a:gd name="T94" fmla="*/ 142 w 279"/>
                <a:gd name="T95" fmla="*/ 36 h 1101"/>
                <a:gd name="T96" fmla="*/ 146 w 279"/>
                <a:gd name="T97" fmla="*/ 45 h 1101"/>
                <a:gd name="T98" fmla="*/ 148 w 279"/>
                <a:gd name="T99" fmla="*/ 54 h 1101"/>
                <a:gd name="T100" fmla="*/ 151 w 279"/>
                <a:gd name="T101" fmla="*/ 75 h 1101"/>
                <a:gd name="T102" fmla="*/ 152 w 279"/>
                <a:gd name="T103" fmla="*/ 98 h 1101"/>
                <a:gd name="T104" fmla="*/ 152 w 279"/>
                <a:gd name="T105" fmla="*/ 912 h 1101"/>
                <a:gd name="T106" fmla="*/ 152 w 279"/>
                <a:gd name="T107" fmla="*/ 912 h 1101"/>
                <a:gd name="T108" fmla="*/ 153 w 279"/>
                <a:gd name="T109" fmla="*/ 928 h 1101"/>
                <a:gd name="T110" fmla="*/ 156 w 279"/>
                <a:gd name="T111" fmla="*/ 941 h 1101"/>
                <a:gd name="T112" fmla="*/ 161 w 279"/>
                <a:gd name="T113" fmla="*/ 952 h 1101"/>
                <a:gd name="T114" fmla="*/ 167 w 279"/>
                <a:gd name="T115" fmla="*/ 961 h 1101"/>
                <a:gd name="T116" fmla="*/ 176 w 279"/>
                <a:gd name="T117" fmla="*/ 968 h 1101"/>
                <a:gd name="T118" fmla="*/ 185 w 279"/>
                <a:gd name="T119" fmla="*/ 975 h 1101"/>
                <a:gd name="T120" fmla="*/ 197 w 279"/>
                <a:gd name="T121" fmla="*/ 977 h 1101"/>
                <a:gd name="T122" fmla="*/ 210 w 279"/>
                <a:gd name="T123" fmla="*/ 978 h 1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79" h="1101">
                  <a:moveTo>
                    <a:pt x="210" y="978"/>
                  </a:moveTo>
                  <a:lnTo>
                    <a:pt x="266" y="978"/>
                  </a:lnTo>
                  <a:lnTo>
                    <a:pt x="266" y="978"/>
                  </a:lnTo>
                  <a:lnTo>
                    <a:pt x="272" y="997"/>
                  </a:lnTo>
                  <a:lnTo>
                    <a:pt x="276" y="1014"/>
                  </a:lnTo>
                  <a:lnTo>
                    <a:pt x="278" y="1030"/>
                  </a:lnTo>
                  <a:lnTo>
                    <a:pt x="279" y="1045"/>
                  </a:lnTo>
                  <a:lnTo>
                    <a:pt x="279" y="1045"/>
                  </a:lnTo>
                  <a:lnTo>
                    <a:pt x="279" y="1059"/>
                  </a:lnTo>
                  <a:lnTo>
                    <a:pt x="278" y="1071"/>
                  </a:lnTo>
                  <a:lnTo>
                    <a:pt x="274" y="1091"/>
                  </a:lnTo>
                  <a:lnTo>
                    <a:pt x="274" y="1091"/>
                  </a:lnTo>
                  <a:lnTo>
                    <a:pt x="243" y="1096"/>
                  </a:lnTo>
                  <a:lnTo>
                    <a:pt x="213" y="1098"/>
                  </a:lnTo>
                  <a:lnTo>
                    <a:pt x="181" y="1101"/>
                  </a:lnTo>
                  <a:lnTo>
                    <a:pt x="147" y="1101"/>
                  </a:lnTo>
                  <a:lnTo>
                    <a:pt x="147" y="1101"/>
                  </a:lnTo>
                  <a:lnTo>
                    <a:pt x="130" y="1101"/>
                  </a:lnTo>
                  <a:lnTo>
                    <a:pt x="113" y="1099"/>
                  </a:lnTo>
                  <a:lnTo>
                    <a:pt x="98" y="1096"/>
                  </a:lnTo>
                  <a:lnTo>
                    <a:pt x="83" y="1092"/>
                  </a:lnTo>
                  <a:lnTo>
                    <a:pt x="71" y="1086"/>
                  </a:lnTo>
                  <a:lnTo>
                    <a:pt x="58" y="1080"/>
                  </a:lnTo>
                  <a:lnTo>
                    <a:pt x="47" y="1072"/>
                  </a:lnTo>
                  <a:lnTo>
                    <a:pt x="37" y="1062"/>
                  </a:lnTo>
                  <a:lnTo>
                    <a:pt x="29" y="1052"/>
                  </a:lnTo>
                  <a:lnTo>
                    <a:pt x="21" y="1041"/>
                  </a:lnTo>
                  <a:lnTo>
                    <a:pt x="15" y="1029"/>
                  </a:lnTo>
                  <a:lnTo>
                    <a:pt x="10" y="1014"/>
                  </a:lnTo>
                  <a:lnTo>
                    <a:pt x="5" y="999"/>
                  </a:lnTo>
                  <a:lnTo>
                    <a:pt x="3" y="983"/>
                  </a:lnTo>
                  <a:lnTo>
                    <a:pt x="2" y="966"/>
                  </a:lnTo>
                  <a:lnTo>
                    <a:pt x="0" y="947"/>
                  </a:lnTo>
                  <a:lnTo>
                    <a:pt x="0" y="9"/>
                  </a:lnTo>
                  <a:lnTo>
                    <a:pt x="11" y="0"/>
                  </a:lnTo>
                  <a:lnTo>
                    <a:pt x="69" y="0"/>
                  </a:lnTo>
                  <a:lnTo>
                    <a:pt x="69" y="0"/>
                  </a:lnTo>
                  <a:lnTo>
                    <a:pt x="81" y="0"/>
                  </a:lnTo>
                  <a:lnTo>
                    <a:pt x="90" y="2"/>
                  </a:lnTo>
                  <a:lnTo>
                    <a:pt x="100" y="3"/>
                  </a:lnTo>
                  <a:lnTo>
                    <a:pt x="109" y="5"/>
                  </a:lnTo>
                  <a:lnTo>
                    <a:pt x="116" y="9"/>
                  </a:lnTo>
                  <a:lnTo>
                    <a:pt x="123" y="13"/>
                  </a:lnTo>
                  <a:lnTo>
                    <a:pt x="129" y="18"/>
                  </a:lnTo>
                  <a:lnTo>
                    <a:pt x="134" y="23"/>
                  </a:lnTo>
                  <a:lnTo>
                    <a:pt x="134" y="23"/>
                  </a:lnTo>
                  <a:lnTo>
                    <a:pt x="139" y="29"/>
                  </a:lnTo>
                  <a:lnTo>
                    <a:pt x="142" y="36"/>
                  </a:lnTo>
                  <a:lnTo>
                    <a:pt x="146" y="45"/>
                  </a:lnTo>
                  <a:lnTo>
                    <a:pt x="148" y="54"/>
                  </a:lnTo>
                  <a:lnTo>
                    <a:pt x="151" y="75"/>
                  </a:lnTo>
                  <a:lnTo>
                    <a:pt x="152" y="98"/>
                  </a:lnTo>
                  <a:lnTo>
                    <a:pt x="152" y="912"/>
                  </a:lnTo>
                  <a:lnTo>
                    <a:pt x="152" y="912"/>
                  </a:lnTo>
                  <a:lnTo>
                    <a:pt x="153" y="928"/>
                  </a:lnTo>
                  <a:lnTo>
                    <a:pt x="156" y="941"/>
                  </a:lnTo>
                  <a:lnTo>
                    <a:pt x="161" y="952"/>
                  </a:lnTo>
                  <a:lnTo>
                    <a:pt x="167" y="961"/>
                  </a:lnTo>
                  <a:lnTo>
                    <a:pt x="176" y="968"/>
                  </a:lnTo>
                  <a:lnTo>
                    <a:pt x="185" y="975"/>
                  </a:lnTo>
                  <a:lnTo>
                    <a:pt x="197" y="977"/>
                  </a:lnTo>
                  <a:lnTo>
                    <a:pt x="210" y="9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dirty="0"/>
            </a:p>
          </p:txBody>
        </p:sp>
        <p:sp>
          <p:nvSpPr>
            <p:cNvPr id="14" name="Freeform 210"/>
            <p:cNvSpPr>
              <a:spLocks/>
            </p:cNvSpPr>
            <p:nvPr/>
          </p:nvSpPr>
          <p:spPr bwMode="auto">
            <a:xfrm>
              <a:off x="4665819" y="3868086"/>
              <a:ext cx="499965" cy="703587"/>
            </a:xfrm>
            <a:custGeom>
              <a:avLst/>
              <a:gdLst>
                <a:gd name="T0" fmla="*/ 2 w 550"/>
                <a:gd name="T1" fmla="*/ 686 h 774"/>
                <a:gd name="T2" fmla="*/ 17 w 550"/>
                <a:gd name="T3" fmla="*/ 642 h 774"/>
                <a:gd name="T4" fmla="*/ 33 w 550"/>
                <a:gd name="T5" fmla="*/ 614 h 774"/>
                <a:gd name="T6" fmla="*/ 50 w 550"/>
                <a:gd name="T7" fmla="*/ 591 h 774"/>
                <a:gd name="T8" fmla="*/ 133 w 550"/>
                <a:gd name="T9" fmla="*/ 632 h 774"/>
                <a:gd name="T10" fmla="*/ 203 w 550"/>
                <a:gd name="T11" fmla="*/ 653 h 774"/>
                <a:gd name="T12" fmla="*/ 243 w 550"/>
                <a:gd name="T13" fmla="*/ 658 h 774"/>
                <a:gd name="T14" fmla="*/ 295 w 550"/>
                <a:gd name="T15" fmla="*/ 654 h 774"/>
                <a:gd name="T16" fmla="*/ 334 w 550"/>
                <a:gd name="T17" fmla="*/ 643 h 774"/>
                <a:gd name="T18" fmla="*/ 355 w 550"/>
                <a:gd name="T19" fmla="*/ 632 h 774"/>
                <a:gd name="T20" fmla="*/ 377 w 550"/>
                <a:gd name="T21" fmla="*/ 611 h 774"/>
                <a:gd name="T22" fmla="*/ 390 w 550"/>
                <a:gd name="T23" fmla="*/ 585 h 774"/>
                <a:gd name="T24" fmla="*/ 392 w 550"/>
                <a:gd name="T25" fmla="*/ 565 h 774"/>
                <a:gd name="T26" fmla="*/ 388 w 550"/>
                <a:gd name="T27" fmla="*/ 542 h 774"/>
                <a:gd name="T28" fmla="*/ 379 w 550"/>
                <a:gd name="T29" fmla="*/ 521 h 774"/>
                <a:gd name="T30" fmla="*/ 339 w 550"/>
                <a:gd name="T31" fmla="*/ 484 h 774"/>
                <a:gd name="T32" fmla="*/ 214 w 550"/>
                <a:gd name="T33" fmla="*/ 433 h 774"/>
                <a:gd name="T34" fmla="*/ 171 w 550"/>
                <a:gd name="T35" fmla="*/ 414 h 774"/>
                <a:gd name="T36" fmla="*/ 116 w 550"/>
                <a:gd name="T37" fmla="*/ 382 h 774"/>
                <a:gd name="T38" fmla="*/ 74 w 550"/>
                <a:gd name="T39" fmla="*/ 344 h 774"/>
                <a:gd name="T40" fmla="*/ 44 w 550"/>
                <a:gd name="T41" fmla="*/ 301 h 774"/>
                <a:gd name="T42" fmla="*/ 29 w 550"/>
                <a:gd name="T43" fmla="*/ 254 h 774"/>
                <a:gd name="T44" fmla="*/ 27 w 550"/>
                <a:gd name="T45" fmla="*/ 220 h 774"/>
                <a:gd name="T46" fmla="*/ 37 w 550"/>
                <a:gd name="T47" fmla="*/ 149 h 774"/>
                <a:gd name="T48" fmla="*/ 67 w 550"/>
                <a:gd name="T49" fmla="*/ 91 h 774"/>
                <a:gd name="T50" fmla="*/ 100 w 550"/>
                <a:gd name="T51" fmla="*/ 58 h 774"/>
                <a:gd name="T52" fmla="*/ 161 w 550"/>
                <a:gd name="T53" fmla="*/ 22 h 774"/>
                <a:gd name="T54" fmla="*/ 235 w 550"/>
                <a:gd name="T55" fmla="*/ 4 h 774"/>
                <a:gd name="T56" fmla="*/ 292 w 550"/>
                <a:gd name="T57" fmla="*/ 0 h 774"/>
                <a:gd name="T58" fmla="*/ 382 w 550"/>
                <a:gd name="T59" fmla="*/ 7 h 774"/>
                <a:gd name="T60" fmla="*/ 472 w 550"/>
                <a:gd name="T61" fmla="*/ 30 h 774"/>
                <a:gd name="T62" fmla="*/ 532 w 550"/>
                <a:gd name="T63" fmla="*/ 53 h 774"/>
                <a:gd name="T64" fmla="*/ 525 w 550"/>
                <a:gd name="T65" fmla="*/ 99 h 774"/>
                <a:gd name="T66" fmla="*/ 513 w 550"/>
                <a:gd name="T67" fmla="*/ 131 h 774"/>
                <a:gd name="T68" fmla="*/ 486 w 550"/>
                <a:gd name="T69" fmla="*/ 165 h 774"/>
                <a:gd name="T70" fmla="*/ 434 w 550"/>
                <a:gd name="T71" fmla="*/ 144 h 774"/>
                <a:gd name="T72" fmla="*/ 359 w 550"/>
                <a:gd name="T73" fmla="*/ 123 h 774"/>
                <a:gd name="T74" fmla="*/ 287 w 550"/>
                <a:gd name="T75" fmla="*/ 116 h 774"/>
                <a:gd name="T76" fmla="*/ 264 w 550"/>
                <a:gd name="T77" fmla="*/ 119 h 774"/>
                <a:gd name="T78" fmla="*/ 234 w 550"/>
                <a:gd name="T79" fmla="*/ 126 h 774"/>
                <a:gd name="T80" fmla="*/ 209 w 550"/>
                <a:gd name="T81" fmla="*/ 141 h 774"/>
                <a:gd name="T82" fmla="*/ 196 w 550"/>
                <a:gd name="T83" fmla="*/ 153 h 774"/>
                <a:gd name="T84" fmla="*/ 184 w 550"/>
                <a:gd name="T85" fmla="*/ 175 h 774"/>
                <a:gd name="T86" fmla="*/ 180 w 550"/>
                <a:gd name="T87" fmla="*/ 201 h 774"/>
                <a:gd name="T88" fmla="*/ 184 w 550"/>
                <a:gd name="T89" fmla="*/ 226 h 774"/>
                <a:gd name="T90" fmla="*/ 192 w 550"/>
                <a:gd name="T91" fmla="*/ 246 h 774"/>
                <a:gd name="T92" fmla="*/ 201 w 550"/>
                <a:gd name="T93" fmla="*/ 256 h 774"/>
                <a:gd name="T94" fmla="*/ 249 w 550"/>
                <a:gd name="T95" fmla="*/ 285 h 774"/>
                <a:gd name="T96" fmla="*/ 361 w 550"/>
                <a:gd name="T97" fmla="*/ 328 h 774"/>
                <a:gd name="T98" fmla="*/ 425 w 550"/>
                <a:gd name="T99" fmla="*/ 358 h 774"/>
                <a:gd name="T100" fmla="*/ 476 w 550"/>
                <a:gd name="T101" fmla="*/ 394 h 774"/>
                <a:gd name="T102" fmla="*/ 513 w 550"/>
                <a:gd name="T103" fmla="*/ 435 h 774"/>
                <a:gd name="T104" fmla="*/ 538 w 550"/>
                <a:gd name="T105" fmla="*/ 482 h 774"/>
                <a:gd name="T106" fmla="*/ 549 w 550"/>
                <a:gd name="T107" fmla="*/ 533 h 774"/>
                <a:gd name="T108" fmla="*/ 549 w 550"/>
                <a:gd name="T109" fmla="*/ 577 h 774"/>
                <a:gd name="T110" fmla="*/ 530 w 550"/>
                <a:gd name="T111" fmla="*/ 645 h 774"/>
                <a:gd name="T112" fmla="*/ 488 w 550"/>
                <a:gd name="T113" fmla="*/ 699 h 774"/>
                <a:gd name="T114" fmla="*/ 450 w 550"/>
                <a:gd name="T115" fmla="*/ 728 h 774"/>
                <a:gd name="T116" fmla="*/ 377 w 550"/>
                <a:gd name="T117" fmla="*/ 759 h 774"/>
                <a:gd name="T118" fmla="*/ 288 w 550"/>
                <a:gd name="T119" fmla="*/ 774 h 774"/>
                <a:gd name="T120" fmla="*/ 223 w 550"/>
                <a:gd name="T121" fmla="*/ 773 h 774"/>
                <a:gd name="T122" fmla="*/ 127 w 550"/>
                <a:gd name="T123" fmla="*/ 756 h 774"/>
                <a:gd name="T124" fmla="*/ 32 w 550"/>
                <a:gd name="T125" fmla="*/ 716 h 7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50" h="774">
                  <a:moveTo>
                    <a:pt x="0" y="699"/>
                  </a:moveTo>
                  <a:lnTo>
                    <a:pt x="0" y="699"/>
                  </a:lnTo>
                  <a:lnTo>
                    <a:pt x="2" y="686"/>
                  </a:lnTo>
                  <a:lnTo>
                    <a:pt x="5" y="673"/>
                  </a:lnTo>
                  <a:lnTo>
                    <a:pt x="9" y="658"/>
                  </a:lnTo>
                  <a:lnTo>
                    <a:pt x="17" y="642"/>
                  </a:lnTo>
                  <a:lnTo>
                    <a:pt x="17" y="642"/>
                  </a:lnTo>
                  <a:lnTo>
                    <a:pt x="24" y="627"/>
                  </a:lnTo>
                  <a:lnTo>
                    <a:pt x="33" y="614"/>
                  </a:lnTo>
                  <a:lnTo>
                    <a:pt x="42" y="603"/>
                  </a:lnTo>
                  <a:lnTo>
                    <a:pt x="50" y="591"/>
                  </a:lnTo>
                  <a:lnTo>
                    <a:pt x="50" y="591"/>
                  </a:lnTo>
                  <a:lnTo>
                    <a:pt x="80" y="607"/>
                  </a:lnTo>
                  <a:lnTo>
                    <a:pt x="107" y="621"/>
                  </a:lnTo>
                  <a:lnTo>
                    <a:pt x="133" y="632"/>
                  </a:lnTo>
                  <a:lnTo>
                    <a:pt x="158" y="641"/>
                  </a:lnTo>
                  <a:lnTo>
                    <a:pt x="181" y="648"/>
                  </a:lnTo>
                  <a:lnTo>
                    <a:pt x="203" y="653"/>
                  </a:lnTo>
                  <a:lnTo>
                    <a:pt x="224" y="657"/>
                  </a:lnTo>
                  <a:lnTo>
                    <a:pt x="243" y="658"/>
                  </a:lnTo>
                  <a:lnTo>
                    <a:pt x="243" y="658"/>
                  </a:lnTo>
                  <a:lnTo>
                    <a:pt x="261" y="657"/>
                  </a:lnTo>
                  <a:lnTo>
                    <a:pt x="279" y="656"/>
                  </a:lnTo>
                  <a:lnTo>
                    <a:pt x="295" y="654"/>
                  </a:lnTo>
                  <a:lnTo>
                    <a:pt x="309" y="651"/>
                  </a:lnTo>
                  <a:lnTo>
                    <a:pt x="322" y="648"/>
                  </a:lnTo>
                  <a:lnTo>
                    <a:pt x="334" y="643"/>
                  </a:lnTo>
                  <a:lnTo>
                    <a:pt x="345" y="638"/>
                  </a:lnTo>
                  <a:lnTo>
                    <a:pt x="355" y="632"/>
                  </a:lnTo>
                  <a:lnTo>
                    <a:pt x="355" y="632"/>
                  </a:lnTo>
                  <a:lnTo>
                    <a:pt x="364" y="626"/>
                  </a:lnTo>
                  <a:lnTo>
                    <a:pt x="371" y="619"/>
                  </a:lnTo>
                  <a:lnTo>
                    <a:pt x="377" y="611"/>
                  </a:lnTo>
                  <a:lnTo>
                    <a:pt x="382" y="603"/>
                  </a:lnTo>
                  <a:lnTo>
                    <a:pt x="387" y="594"/>
                  </a:lnTo>
                  <a:lnTo>
                    <a:pt x="390" y="585"/>
                  </a:lnTo>
                  <a:lnTo>
                    <a:pt x="391" y="575"/>
                  </a:lnTo>
                  <a:lnTo>
                    <a:pt x="392" y="565"/>
                  </a:lnTo>
                  <a:lnTo>
                    <a:pt x="392" y="565"/>
                  </a:lnTo>
                  <a:lnTo>
                    <a:pt x="392" y="558"/>
                  </a:lnTo>
                  <a:lnTo>
                    <a:pt x="391" y="549"/>
                  </a:lnTo>
                  <a:lnTo>
                    <a:pt x="388" y="542"/>
                  </a:lnTo>
                  <a:lnTo>
                    <a:pt x="386" y="535"/>
                  </a:lnTo>
                  <a:lnTo>
                    <a:pt x="382" y="527"/>
                  </a:lnTo>
                  <a:lnTo>
                    <a:pt x="379" y="521"/>
                  </a:lnTo>
                  <a:lnTo>
                    <a:pt x="369" y="507"/>
                  </a:lnTo>
                  <a:lnTo>
                    <a:pt x="355" y="495"/>
                  </a:lnTo>
                  <a:lnTo>
                    <a:pt x="339" y="484"/>
                  </a:lnTo>
                  <a:lnTo>
                    <a:pt x="320" y="474"/>
                  </a:lnTo>
                  <a:lnTo>
                    <a:pt x="298" y="464"/>
                  </a:lnTo>
                  <a:lnTo>
                    <a:pt x="214" y="433"/>
                  </a:lnTo>
                  <a:lnTo>
                    <a:pt x="214" y="433"/>
                  </a:lnTo>
                  <a:lnTo>
                    <a:pt x="192" y="423"/>
                  </a:lnTo>
                  <a:lnTo>
                    <a:pt x="171" y="414"/>
                  </a:lnTo>
                  <a:lnTo>
                    <a:pt x="150" y="404"/>
                  </a:lnTo>
                  <a:lnTo>
                    <a:pt x="133" y="393"/>
                  </a:lnTo>
                  <a:lnTo>
                    <a:pt x="116" y="382"/>
                  </a:lnTo>
                  <a:lnTo>
                    <a:pt x="100" y="369"/>
                  </a:lnTo>
                  <a:lnTo>
                    <a:pt x="86" y="357"/>
                  </a:lnTo>
                  <a:lnTo>
                    <a:pt x="74" y="344"/>
                  </a:lnTo>
                  <a:lnTo>
                    <a:pt x="63" y="331"/>
                  </a:lnTo>
                  <a:lnTo>
                    <a:pt x="53" y="316"/>
                  </a:lnTo>
                  <a:lnTo>
                    <a:pt x="44" y="301"/>
                  </a:lnTo>
                  <a:lnTo>
                    <a:pt x="38" y="286"/>
                  </a:lnTo>
                  <a:lnTo>
                    <a:pt x="33" y="270"/>
                  </a:lnTo>
                  <a:lnTo>
                    <a:pt x="29" y="254"/>
                  </a:lnTo>
                  <a:lnTo>
                    <a:pt x="27" y="237"/>
                  </a:lnTo>
                  <a:lnTo>
                    <a:pt x="27" y="220"/>
                  </a:lnTo>
                  <a:lnTo>
                    <a:pt x="27" y="220"/>
                  </a:lnTo>
                  <a:lnTo>
                    <a:pt x="27" y="195"/>
                  </a:lnTo>
                  <a:lnTo>
                    <a:pt x="30" y="172"/>
                  </a:lnTo>
                  <a:lnTo>
                    <a:pt x="37" y="149"/>
                  </a:lnTo>
                  <a:lnTo>
                    <a:pt x="44" y="128"/>
                  </a:lnTo>
                  <a:lnTo>
                    <a:pt x="55" y="109"/>
                  </a:lnTo>
                  <a:lnTo>
                    <a:pt x="67" y="91"/>
                  </a:lnTo>
                  <a:lnTo>
                    <a:pt x="82" y="74"/>
                  </a:lnTo>
                  <a:lnTo>
                    <a:pt x="100" y="58"/>
                  </a:lnTo>
                  <a:lnTo>
                    <a:pt x="100" y="58"/>
                  </a:lnTo>
                  <a:lnTo>
                    <a:pt x="119" y="44"/>
                  </a:lnTo>
                  <a:lnTo>
                    <a:pt x="139" y="32"/>
                  </a:lnTo>
                  <a:lnTo>
                    <a:pt x="161" y="22"/>
                  </a:lnTo>
                  <a:lnTo>
                    <a:pt x="185" y="14"/>
                  </a:lnTo>
                  <a:lnTo>
                    <a:pt x="209" y="7"/>
                  </a:lnTo>
                  <a:lnTo>
                    <a:pt x="235" y="4"/>
                  </a:lnTo>
                  <a:lnTo>
                    <a:pt x="264" y="0"/>
                  </a:lnTo>
                  <a:lnTo>
                    <a:pt x="292" y="0"/>
                  </a:lnTo>
                  <a:lnTo>
                    <a:pt x="292" y="0"/>
                  </a:lnTo>
                  <a:lnTo>
                    <a:pt x="322" y="0"/>
                  </a:lnTo>
                  <a:lnTo>
                    <a:pt x="353" y="2"/>
                  </a:lnTo>
                  <a:lnTo>
                    <a:pt x="382" y="7"/>
                  </a:lnTo>
                  <a:lnTo>
                    <a:pt x="413" y="12"/>
                  </a:lnTo>
                  <a:lnTo>
                    <a:pt x="443" y="20"/>
                  </a:lnTo>
                  <a:lnTo>
                    <a:pt x="472" y="30"/>
                  </a:lnTo>
                  <a:lnTo>
                    <a:pt x="502" y="41"/>
                  </a:lnTo>
                  <a:lnTo>
                    <a:pt x="532" y="53"/>
                  </a:lnTo>
                  <a:lnTo>
                    <a:pt x="532" y="53"/>
                  </a:lnTo>
                  <a:lnTo>
                    <a:pt x="532" y="68"/>
                  </a:lnTo>
                  <a:lnTo>
                    <a:pt x="529" y="84"/>
                  </a:lnTo>
                  <a:lnTo>
                    <a:pt x="525" y="99"/>
                  </a:lnTo>
                  <a:lnTo>
                    <a:pt x="519" y="116"/>
                  </a:lnTo>
                  <a:lnTo>
                    <a:pt x="519" y="116"/>
                  </a:lnTo>
                  <a:lnTo>
                    <a:pt x="513" y="131"/>
                  </a:lnTo>
                  <a:lnTo>
                    <a:pt x="504" y="144"/>
                  </a:lnTo>
                  <a:lnTo>
                    <a:pt x="496" y="157"/>
                  </a:lnTo>
                  <a:lnTo>
                    <a:pt x="486" y="165"/>
                  </a:lnTo>
                  <a:lnTo>
                    <a:pt x="486" y="165"/>
                  </a:lnTo>
                  <a:lnTo>
                    <a:pt x="460" y="154"/>
                  </a:lnTo>
                  <a:lnTo>
                    <a:pt x="434" y="144"/>
                  </a:lnTo>
                  <a:lnTo>
                    <a:pt x="408" y="136"/>
                  </a:lnTo>
                  <a:lnTo>
                    <a:pt x="383" y="128"/>
                  </a:lnTo>
                  <a:lnTo>
                    <a:pt x="359" y="123"/>
                  </a:lnTo>
                  <a:lnTo>
                    <a:pt x="334" y="120"/>
                  </a:lnTo>
                  <a:lnTo>
                    <a:pt x="311" y="117"/>
                  </a:lnTo>
                  <a:lnTo>
                    <a:pt x="287" y="116"/>
                  </a:lnTo>
                  <a:lnTo>
                    <a:pt x="287" y="116"/>
                  </a:lnTo>
                  <a:lnTo>
                    <a:pt x="275" y="117"/>
                  </a:lnTo>
                  <a:lnTo>
                    <a:pt x="264" y="119"/>
                  </a:lnTo>
                  <a:lnTo>
                    <a:pt x="253" y="120"/>
                  </a:lnTo>
                  <a:lnTo>
                    <a:pt x="243" y="122"/>
                  </a:lnTo>
                  <a:lnTo>
                    <a:pt x="234" y="126"/>
                  </a:lnTo>
                  <a:lnTo>
                    <a:pt x="224" y="130"/>
                  </a:lnTo>
                  <a:lnTo>
                    <a:pt x="217" y="135"/>
                  </a:lnTo>
                  <a:lnTo>
                    <a:pt x="209" y="141"/>
                  </a:lnTo>
                  <a:lnTo>
                    <a:pt x="209" y="141"/>
                  </a:lnTo>
                  <a:lnTo>
                    <a:pt x="202" y="147"/>
                  </a:lnTo>
                  <a:lnTo>
                    <a:pt x="196" y="153"/>
                  </a:lnTo>
                  <a:lnTo>
                    <a:pt x="191" y="160"/>
                  </a:lnTo>
                  <a:lnTo>
                    <a:pt x="187" y="168"/>
                  </a:lnTo>
                  <a:lnTo>
                    <a:pt x="184" y="175"/>
                  </a:lnTo>
                  <a:lnTo>
                    <a:pt x="182" y="184"/>
                  </a:lnTo>
                  <a:lnTo>
                    <a:pt x="181" y="191"/>
                  </a:lnTo>
                  <a:lnTo>
                    <a:pt x="180" y="201"/>
                  </a:lnTo>
                  <a:lnTo>
                    <a:pt x="180" y="201"/>
                  </a:lnTo>
                  <a:lnTo>
                    <a:pt x="181" y="217"/>
                  </a:lnTo>
                  <a:lnTo>
                    <a:pt x="184" y="226"/>
                  </a:lnTo>
                  <a:lnTo>
                    <a:pt x="185" y="233"/>
                  </a:lnTo>
                  <a:lnTo>
                    <a:pt x="188" y="240"/>
                  </a:lnTo>
                  <a:lnTo>
                    <a:pt x="192" y="246"/>
                  </a:lnTo>
                  <a:lnTo>
                    <a:pt x="196" y="251"/>
                  </a:lnTo>
                  <a:lnTo>
                    <a:pt x="201" y="256"/>
                  </a:lnTo>
                  <a:lnTo>
                    <a:pt x="201" y="256"/>
                  </a:lnTo>
                  <a:lnTo>
                    <a:pt x="214" y="265"/>
                  </a:lnTo>
                  <a:lnTo>
                    <a:pt x="229" y="275"/>
                  </a:lnTo>
                  <a:lnTo>
                    <a:pt x="249" y="285"/>
                  </a:lnTo>
                  <a:lnTo>
                    <a:pt x="272" y="295"/>
                  </a:lnTo>
                  <a:lnTo>
                    <a:pt x="361" y="328"/>
                  </a:lnTo>
                  <a:lnTo>
                    <a:pt x="361" y="328"/>
                  </a:lnTo>
                  <a:lnTo>
                    <a:pt x="383" y="338"/>
                  </a:lnTo>
                  <a:lnTo>
                    <a:pt x="406" y="348"/>
                  </a:lnTo>
                  <a:lnTo>
                    <a:pt x="425" y="358"/>
                  </a:lnTo>
                  <a:lnTo>
                    <a:pt x="444" y="369"/>
                  </a:lnTo>
                  <a:lnTo>
                    <a:pt x="460" y="382"/>
                  </a:lnTo>
                  <a:lnTo>
                    <a:pt x="476" y="394"/>
                  </a:lnTo>
                  <a:lnTo>
                    <a:pt x="490" y="407"/>
                  </a:lnTo>
                  <a:lnTo>
                    <a:pt x="502" y="421"/>
                  </a:lnTo>
                  <a:lnTo>
                    <a:pt x="513" y="435"/>
                  </a:lnTo>
                  <a:lnTo>
                    <a:pt x="523" y="449"/>
                  </a:lnTo>
                  <a:lnTo>
                    <a:pt x="532" y="465"/>
                  </a:lnTo>
                  <a:lnTo>
                    <a:pt x="538" y="482"/>
                  </a:lnTo>
                  <a:lnTo>
                    <a:pt x="543" y="499"/>
                  </a:lnTo>
                  <a:lnTo>
                    <a:pt x="546" y="516"/>
                  </a:lnTo>
                  <a:lnTo>
                    <a:pt x="549" y="533"/>
                  </a:lnTo>
                  <a:lnTo>
                    <a:pt x="550" y="552"/>
                  </a:lnTo>
                  <a:lnTo>
                    <a:pt x="550" y="552"/>
                  </a:lnTo>
                  <a:lnTo>
                    <a:pt x="549" y="577"/>
                  </a:lnTo>
                  <a:lnTo>
                    <a:pt x="545" y="601"/>
                  </a:lnTo>
                  <a:lnTo>
                    <a:pt x="539" y="624"/>
                  </a:lnTo>
                  <a:lnTo>
                    <a:pt x="530" y="645"/>
                  </a:lnTo>
                  <a:lnTo>
                    <a:pt x="519" y="664"/>
                  </a:lnTo>
                  <a:lnTo>
                    <a:pt x="506" y="683"/>
                  </a:lnTo>
                  <a:lnTo>
                    <a:pt x="488" y="699"/>
                  </a:lnTo>
                  <a:lnTo>
                    <a:pt x="470" y="715"/>
                  </a:lnTo>
                  <a:lnTo>
                    <a:pt x="470" y="715"/>
                  </a:lnTo>
                  <a:lnTo>
                    <a:pt x="450" y="728"/>
                  </a:lnTo>
                  <a:lnTo>
                    <a:pt x="428" y="741"/>
                  </a:lnTo>
                  <a:lnTo>
                    <a:pt x="403" y="751"/>
                  </a:lnTo>
                  <a:lnTo>
                    <a:pt x="377" y="759"/>
                  </a:lnTo>
                  <a:lnTo>
                    <a:pt x="350" y="767"/>
                  </a:lnTo>
                  <a:lnTo>
                    <a:pt x="320" y="770"/>
                  </a:lnTo>
                  <a:lnTo>
                    <a:pt x="288" y="774"/>
                  </a:lnTo>
                  <a:lnTo>
                    <a:pt x="255" y="774"/>
                  </a:lnTo>
                  <a:lnTo>
                    <a:pt x="255" y="774"/>
                  </a:lnTo>
                  <a:lnTo>
                    <a:pt x="223" y="773"/>
                  </a:lnTo>
                  <a:lnTo>
                    <a:pt x="191" y="769"/>
                  </a:lnTo>
                  <a:lnTo>
                    <a:pt x="159" y="763"/>
                  </a:lnTo>
                  <a:lnTo>
                    <a:pt x="127" y="756"/>
                  </a:lnTo>
                  <a:lnTo>
                    <a:pt x="95" y="745"/>
                  </a:lnTo>
                  <a:lnTo>
                    <a:pt x="63" y="732"/>
                  </a:lnTo>
                  <a:lnTo>
                    <a:pt x="32" y="716"/>
                  </a:lnTo>
                  <a:lnTo>
                    <a:pt x="0" y="6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dirty="0"/>
            </a:p>
          </p:txBody>
        </p:sp>
        <p:sp>
          <p:nvSpPr>
            <p:cNvPr id="15" name="Freeform 212"/>
            <p:cNvSpPr>
              <a:spLocks noEditPoints="1"/>
            </p:cNvSpPr>
            <p:nvPr/>
          </p:nvSpPr>
          <p:spPr bwMode="auto">
            <a:xfrm>
              <a:off x="5275776" y="3868086"/>
              <a:ext cx="550870" cy="703587"/>
            </a:xfrm>
            <a:custGeom>
              <a:avLst/>
              <a:gdLst>
                <a:gd name="T0" fmla="*/ 293 w 606"/>
                <a:gd name="T1" fmla="*/ 115 h 774"/>
                <a:gd name="T2" fmla="*/ 248 w 606"/>
                <a:gd name="T3" fmla="*/ 127 h 774"/>
                <a:gd name="T4" fmla="*/ 211 w 606"/>
                <a:gd name="T5" fmla="*/ 154 h 774"/>
                <a:gd name="T6" fmla="*/ 184 w 606"/>
                <a:gd name="T7" fmla="*/ 195 h 774"/>
                <a:gd name="T8" fmla="*/ 167 w 606"/>
                <a:gd name="T9" fmla="*/ 252 h 774"/>
                <a:gd name="T10" fmla="*/ 158 w 606"/>
                <a:gd name="T11" fmla="*/ 323 h 774"/>
                <a:gd name="T12" fmla="*/ 459 w 606"/>
                <a:gd name="T13" fmla="*/ 305 h 774"/>
                <a:gd name="T14" fmla="*/ 454 w 606"/>
                <a:gd name="T15" fmla="*/ 244 h 774"/>
                <a:gd name="T16" fmla="*/ 438 w 606"/>
                <a:gd name="T17" fmla="*/ 195 h 774"/>
                <a:gd name="T18" fmla="*/ 422 w 606"/>
                <a:gd name="T19" fmla="*/ 167 h 774"/>
                <a:gd name="T20" fmla="*/ 389 w 606"/>
                <a:gd name="T21" fmla="*/ 135 h 774"/>
                <a:gd name="T22" fmla="*/ 346 w 606"/>
                <a:gd name="T23" fmla="*/ 117 h 774"/>
                <a:gd name="T24" fmla="*/ 596 w 606"/>
                <a:gd name="T25" fmla="*/ 436 h 774"/>
                <a:gd name="T26" fmla="*/ 160 w 606"/>
                <a:gd name="T27" fmla="*/ 461 h 774"/>
                <a:gd name="T28" fmla="*/ 172 w 606"/>
                <a:gd name="T29" fmla="*/ 527 h 774"/>
                <a:gd name="T30" fmla="*/ 194 w 606"/>
                <a:gd name="T31" fmla="*/ 579 h 774"/>
                <a:gd name="T32" fmla="*/ 214 w 606"/>
                <a:gd name="T33" fmla="*/ 606 h 774"/>
                <a:gd name="T34" fmla="*/ 255 w 606"/>
                <a:gd name="T35" fmla="*/ 635 h 774"/>
                <a:gd name="T36" fmla="*/ 313 w 606"/>
                <a:gd name="T37" fmla="*/ 648 h 774"/>
                <a:gd name="T38" fmla="*/ 359 w 606"/>
                <a:gd name="T39" fmla="*/ 648 h 774"/>
                <a:gd name="T40" fmla="*/ 432 w 606"/>
                <a:gd name="T41" fmla="*/ 636 h 774"/>
                <a:gd name="T42" fmla="*/ 484 w 606"/>
                <a:gd name="T43" fmla="*/ 617 h 774"/>
                <a:gd name="T44" fmla="*/ 538 w 606"/>
                <a:gd name="T45" fmla="*/ 591 h 774"/>
                <a:gd name="T46" fmla="*/ 563 w 606"/>
                <a:gd name="T47" fmla="*/ 622 h 774"/>
                <a:gd name="T48" fmla="*/ 580 w 606"/>
                <a:gd name="T49" fmla="*/ 661 h 774"/>
                <a:gd name="T50" fmla="*/ 587 w 606"/>
                <a:gd name="T51" fmla="*/ 690 h 774"/>
                <a:gd name="T52" fmla="*/ 492 w 606"/>
                <a:gd name="T53" fmla="*/ 741 h 774"/>
                <a:gd name="T54" fmla="*/ 386 w 606"/>
                <a:gd name="T55" fmla="*/ 768 h 774"/>
                <a:gd name="T56" fmla="*/ 309 w 606"/>
                <a:gd name="T57" fmla="*/ 774 h 774"/>
                <a:gd name="T58" fmla="*/ 248 w 606"/>
                <a:gd name="T59" fmla="*/ 769 h 774"/>
                <a:gd name="T60" fmla="*/ 195 w 606"/>
                <a:gd name="T61" fmla="*/ 757 h 774"/>
                <a:gd name="T62" fmla="*/ 165 w 606"/>
                <a:gd name="T63" fmla="*/ 743 h 774"/>
                <a:gd name="T64" fmla="*/ 125 w 606"/>
                <a:gd name="T65" fmla="*/ 717 h 774"/>
                <a:gd name="T66" fmla="*/ 90 w 606"/>
                <a:gd name="T67" fmla="*/ 686 h 774"/>
                <a:gd name="T68" fmla="*/ 70 w 606"/>
                <a:gd name="T69" fmla="*/ 662 h 774"/>
                <a:gd name="T70" fmla="*/ 46 w 606"/>
                <a:gd name="T71" fmla="*/ 620 h 774"/>
                <a:gd name="T72" fmla="*/ 27 w 606"/>
                <a:gd name="T73" fmla="*/ 572 h 774"/>
                <a:gd name="T74" fmla="*/ 10 w 606"/>
                <a:gd name="T75" fmla="*/ 501 h 774"/>
                <a:gd name="T76" fmla="*/ 0 w 606"/>
                <a:gd name="T77" fmla="*/ 382 h 774"/>
                <a:gd name="T78" fmla="*/ 5 w 606"/>
                <a:gd name="T79" fmla="*/ 302 h 774"/>
                <a:gd name="T80" fmla="*/ 21 w 606"/>
                <a:gd name="T81" fmla="*/ 228 h 774"/>
                <a:gd name="T82" fmla="*/ 38 w 606"/>
                <a:gd name="T83" fmla="*/ 179 h 774"/>
                <a:gd name="T84" fmla="*/ 62 w 606"/>
                <a:gd name="T85" fmla="*/ 135 h 774"/>
                <a:gd name="T86" fmla="*/ 80 w 606"/>
                <a:gd name="T87" fmla="*/ 107 h 774"/>
                <a:gd name="T88" fmla="*/ 112 w 606"/>
                <a:gd name="T89" fmla="*/ 73 h 774"/>
                <a:gd name="T90" fmla="*/ 149 w 606"/>
                <a:gd name="T91" fmla="*/ 44 h 774"/>
                <a:gd name="T92" fmla="*/ 176 w 606"/>
                <a:gd name="T93" fmla="*/ 28 h 774"/>
                <a:gd name="T94" fmla="*/ 221 w 606"/>
                <a:gd name="T95" fmla="*/ 11 h 774"/>
                <a:gd name="T96" fmla="*/ 270 w 606"/>
                <a:gd name="T97" fmla="*/ 1 h 774"/>
                <a:gd name="T98" fmla="*/ 305 w 606"/>
                <a:gd name="T99" fmla="*/ 0 h 774"/>
                <a:gd name="T100" fmla="*/ 357 w 606"/>
                <a:gd name="T101" fmla="*/ 2 h 774"/>
                <a:gd name="T102" fmla="*/ 404 w 606"/>
                <a:gd name="T103" fmla="*/ 14 h 774"/>
                <a:gd name="T104" fmla="*/ 432 w 606"/>
                <a:gd name="T105" fmla="*/ 23 h 774"/>
                <a:gd name="T106" fmla="*/ 471 w 606"/>
                <a:gd name="T107" fmla="*/ 44 h 774"/>
                <a:gd name="T108" fmla="*/ 506 w 606"/>
                <a:gd name="T109" fmla="*/ 69 h 774"/>
                <a:gd name="T110" fmla="*/ 536 w 606"/>
                <a:gd name="T111" fmla="*/ 100 h 774"/>
                <a:gd name="T112" fmla="*/ 560 w 606"/>
                <a:gd name="T113" fmla="*/ 136 h 774"/>
                <a:gd name="T114" fmla="*/ 586 w 606"/>
                <a:gd name="T115" fmla="*/ 191 h 774"/>
                <a:gd name="T116" fmla="*/ 601 w 606"/>
                <a:gd name="T117" fmla="*/ 252 h 774"/>
                <a:gd name="T118" fmla="*/ 606 w 606"/>
                <a:gd name="T119" fmla="*/ 319 h 774"/>
                <a:gd name="T120" fmla="*/ 604 w 606"/>
                <a:gd name="T121" fmla="*/ 378 h 7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606" h="774">
                  <a:moveTo>
                    <a:pt x="310" y="114"/>
                  </a:moveTo>
                  <a:lnTo>
                    <a:pt x="310" y="114"/>
                  </a:lnTo>
                  <a:lnTo>
                    <a:pt x="293" y="115"/>
                  </a:lnTo>
                  <a:lnTo>
                    <a:pt x="276" y="117"/>
                  </a:lnTo>
                  <a:lnTo>
                    <a:pt x="262" y="121"/>
                  </a:lnTo>
                  <a:lnTo>
                    <a:pt x="248" y="127"/>
                  </a:lnTo>
                  <a:lnTo>
                    <a:pt x="235" y="135"/>
                  </a:lnTo>
                  <a:lnTo>
                    <a:pt x="222" y="143"/>
                  </a:lnTo>
                  <a:lnTo>
                    <a:pt x="211" y="154"/>
                  </a:lnTo>
                  <a:lnTo>
                    <a:pt x="201" y="167"/>
                  </a:lnTo>
                  <a:lnTo>
                    <a:pt x="193" y="180"/>
                  </a:lnTo>
                  <a:lnTo>
                    <a:pt x="184" y="195"/>
                  </a:lnTo>
                  <a:lnTo>
                    <a:pt x="178" y="212"/>
                  </a:lnTo>
                  <a:lnTo>
                    <a:pt x="172" y="232"/>
                  </a:lnTo>
                  <a:lnTo>
                    <a:pt x="167" y="252"/>
                  </a:lnTo>
                  <a:lnTo>
                    <a:pt x="163" y="274"/>
                  </a:lnTo>
                  <a:lnTo>
                    <a:pt x="160" y="299"/>
                  </a:lnTo>
                  <a:lnTo>
                    <a:pt x="158" y="323"/>
                  </a:lnTo>
                  <a:lnTo>
                    <a:pt x="459" y="323"/>
                  </a:lnTo>
                  <a:lnTo>
                    <a:pt x="459" y="305"/>
                  </a:lnTo>
                  <a:lnTo>
                    <a:pt x="459" y="305"/>
                  </a:lnTo>
                  <a:lnTo>
                    <a:pt x="458" y="284"/>
                  </a:lnTo>
                  <a:lnTo>
                    <a:pt x="457" y="264"/>
                  </a:lnTo>
                  <a:lnTo>
                    <a:pt x="454" y="244"/>
                  </a:lnTo>
                  <a:lnTo>
                    <a:pt x="449" y="227"/>
                  </a:lnTo>
                  <a:lnTo>
                    <a:pt x="444" y="211"/>
                  </a:lnTo>
                  <a:lnTo>
                    <a:pt x="438" y="195"/>
                  </a:lnTo>
                  <a:lnTo>
                    <a:pt x="431" y="180"/>
                  </a:lnTo>
                  <a:lnTo>
                    <a:pt x="422" y="167"/>
                  </a:lnTo>
                  <a:lnTo>
                    <a:pt x="422" y="167"/>
                  </a:lnTo>
                  <a:lnTo>
                    <a:pt x="412" y="154"/>
                  </a:lnTo>
                  <a:lnTo>
                    <a:pt x="401" y="144"/>
                  </a:lnTo>
                  <a:lnTo>
                    <a:pt x="389" y="135"/>
                  </a:lnTo>
                  <a:lnTo>
                    <a:pt x="376" y="127"/>
                  </a:lnTo>
                  <a:lnTo>
                    <a:pt x="362" y="121"/>
                  </a:lnTo>
                  <a:lnTo>
                    <a:pt x="346" y="117"/>
                  </a:lnTo>
                  <a:lnTo>
                    <a:pt x="328" y="115"/>
                  </a:lnTo>
                  <a:lnTo>
                    <a:pt x="310" y="114"/>
                  </a:lnTo>
                  <a:close/>
                  <a:moveTo>
                    <a:pt x="596" y="436"/>
                  </a:moveTo>
                  <a:lnTo>
                    <a:pt x="159" y="436"/>
                  </a:lnTo>
                  <a:lnTo>
                    <a:pt x="159" y="436"/>
                  </a:lnTo>
                  <a:lnTo>
                    <a:pt x="160" y="461"/>
                  </a:lnTo>
                  <a:lnTo>
                    <a:pt x="163" y="484"/>
                  </a:lnTo>
                  <a:lnTo>
                    <a:pt x="167" y="506"/>
                  </a:lnTo>
                  <a:lnTo>
                    <a:pt x="172" y="527"/>
                  </a:lnTo>
                  <a:lnTo>
                    <a:pt x="178" y="546"/>
                  </a:lnTo>
                  <a:lnTo>
                    <a:pt x="185" y="563"/>
                  </a:lnTo>
                  <a:lnTo>
                    <a:pt x="194" y="579"/>
                  </a:lnTo>
                  <a:lnTo>
                    <a:pt x="202" y="594"/>
                  </a:lnTo>
                  <a:lnTo>
                    <a:pt x="202" y="594"/>
                  </a:lnTo>
                  <a:lnTo>
                    <a:pt x="214" y="606"/>
                  </a:lnTo>
                  <a:lnTo>
                    <a:pt x="226" y="617"/>
                  </a:lnTo>
                  <a:lnTo>
                    <a:pt x="239" y="627"/>
                  </a:lnTo>
                  <a:lnTo>
                    <a:pt x="255" y="635"/>
                  </a:lnTo>
                  <a:lnTo>
                    <a:pt x="273" y="641"/>
                  </a:lnTo>
                  <a:lnTo>
                    <a:pt x="293" y="646"/>
                  </a:lnTo>
                  <a:lnTo>
                    <a:pt x="313" y="648"/>
                  </a:lnTo>
                  <a:lnTo>
                    <a:pt x="336" y="649"/>
                  </a:lnTo>
                  <a:lnTo>
                    <a:pt x="336" y="649"/>
                  </a:lnTo>
                  <a:lnTo>
                    <a:pt x="359" y="648"/>
                  </a:lnTo>
                  <a:lnTo>
                    <a:pt x="383" y="646"/>
                  </a:lnTo>
                  <a:lnTo>
                    <a:pt x="407" y="641"/>
                  </a:lnTo>
                  <a:lnTo>
                    <a:pt x="432" y="636"/>
                  </a:lnTo>
                  <a:lnTo>
                    <a:pt x="432" y="636"/>
                  </a:lnTo>
                  <a:lnTo>
                    <a:pt x="458" y="627"/>
                  </a:lnTo>
                  <a:lnTo>
                    <a:pt x="484" y="617"/>
                  </a:lnTo>
                  <a:lnTo>
                    <a:pt x="511" y="606"/>
                  </a:lnTo>
                  <a:lnTo>
                    <a:pt x="538" y="591"/>
                  </a:lnTo>
                  <a:lnTo>
                    <a:pt x="538" y="591"/>
                  </a:lnTo>
                  <a:lnTo>
                    <a:pt x="547" y="601"/>
                  </a:lnTo>
                  <a:lnTo>
                    <a:pt x="555" y="611"/>
                  </a:lnTo>
                  <a:lnTo>
                    <a:pt x="563" y="622"/>
                  </a:lnTo>
                  <a:lnTo>
                    <a:pt x="569" y="633"/>
                  </a:lnTo>
                  <a:lnTo>
                    <a:pt x="575" y="646"/>
                  </a:lnTo>
                  <a:lnTo>
                    <a:pt x="580" y="661"/>
                  </a:lnTo>
                  <a:lnTo>
                    <a:pt x="584" y="674"/>
                  </a:lnTo>
                  <a:lnTo>
                    <a:pt x="587" y="690"/>
                  </a:lnTo>
                  <a:lnTo>
                    <a:pt x="587" y="690"/>
                  </a:lnTo>
                  <a:lnTo>
                    <a:pt x="557" y="710"/>
                  </a:lnTo>
                  <a:lnTo>
                    <a:pt x="526" y="727"/>
                  </a:lnTo>
                  <a:lnTo>
                    <a:pt x="492" y="741"/>
                  </a:lnTo>
                  <a:lnTo>
                    <a:pt x="458" y="753"/>
                  </a:lnTo>
                  <a:lnTo>
                    <a:pt x="423" y="762"/>
                  </a:lnTo>
                  <a:lnTo>
                    <a:pt x="386" y="768"/>
                  </a:lnTo>
                  <a:lnTo>
                    <a:pt x="348" y="773"/>
                  </a:lnTo>
                  <a:lnTo>
                    <a:pt x="309" y="774"/>
                  </a:lnTo>
                  <a:lnTo>
                    <a:pt x="309" y="774"/>
                  </a:lnTo>
                  <a:lnTo>
                    <a:pt x="288" y="773"/>
                  </a:lnTo>
                  <a:lnTo>
                    <a:pt x="267" y="772"/>
                  </a:lnTo>
                  <a:lnTo>
                    <a:pt x="248" y="769"/>
                  </a:lnTo>
                  <a:lnTo>
                    <a:pt x="230" y="767"/>
                  </a:lnTo>
                  <a:lnTo>
                    <a:pt x="212" y="762"/>
                  </a:lnTo>
                  <a:lnTo>
                    <a:pt x="195" y="757"/>
                  </a:lnTo>
                  <a:lnTo>
                    <a:pt x="180" y="751"/>
                  </a:lnTo>
                  <a:lnTo>
                    <a:pt x="165" y="743"/>
                  </a:lnTo>
                  <a:lnTo>
                    <a:pt x="165" y="743"/>
                  </a:lnTo>
                  <a:lnTo>
                    <a:pt x="151" y="736"/>
                  </a:lnTo>
                  <a:lnTo>
                    <a:pt x="137" y="727"/>
                  </a:lnTo>
                  <a:lnTo>
                    <a:pt x="125" y="717"/>
                  </a:lnTo>
                  <a:lnTo>
                    <a:pt x="112" y="707"/>
                  </a:lnTo>
                  <a:lnTo>
                    <a:pt x="100" y="698"/>
                  </a:lnTo>
                  <a:lnTo>
                    <a:pt x="90" y="686"/>
                  </a:lnTo>
                  <a:lnTo>
                    <a:pt x="79" y="674"/>
                  </a:lnTo>
                  <a:lnTo>
                    <a:pt x="70" y="662"/>
                  </a:lnTo>
                  <a:lnTo>
                    <a:pt x="70" y="662"/>
                  </a:lnTo>
                  <a:lnTo>
                    <a:pt x="62" y="648"/>
                  </a:lnTo>
                  <a:lnTo>
                    <a:pt x="53" y="635"/>
                  </a:lnTo>
                  <a:lnTo>
                    <a:pt x="46" y="620"/>
                  </a:lnTo>
                  <a:lnTo>
                    <a:pt x="38" y="604"/>
                  </a:lnTo>
                  <a:lnTo>
                    <a:pt x="32" y="589"/>
                  </a:lnTo>
                  <a:lnTo>
                    <a:pt x="27" y="572"/>
                  </a:lnTo>
                  <a:lnTo>
                    <a:pt x="17" y="537"/>
                  </a:lnTo>
                  <a:lnTo>
                    <a:pt x="17" y="537"/>
                  </a:lnTo>
                  <a:lnTo>
                    <a:pt x="10" y="501"/>
                  </a:lnTo>
                  <a:lnTo>
                    <a:pt x="5" y="463"/>
                  </a:lnTo>
                  <a:lnTo>
                    <a:pt x="1" y="423"/>
                  </a:lnTo>
                  <a:lnTo>
                    <a:pt x="0" y="382"/>
                  </a:lnTo>
                  <a:lnTo>
                    <a:pt x="0" y="382"/>
                  </a:lnTo>
                  <a:lnTo>
                    <a:pt x="1" y="342"/>
                  </a:lnTo>
                  <a:lnTo>
                    <a:pt x="5" y="302"/>
                  </a:lnTo>
                  <a:lnTo>
                    <a:pt x="12" y="265"/>
                  </a:lnTo>
                  <a:lnTo>
                    <a:pt x="21" y="228"/>
                  </a:lnTo>
                  <a:lnTo>
                    <a:pt x="21" y="228"/>
                  </a:lnTo>
                  <a:lnTo>
                    <a:pt x="26" y="211"/>
                  </a:lnTo>
                  <a:lnTo>
                    <a:pt x="32" y="195"/>
                  </a:lnTo>
                  <a:lnTo>
                    <a:pt x="38" y="179"/>
                  </a:lnTo>
                  <a:lnTo>
                    <a:pt x="46" y="163"/>
                  </a:lnTo>
                  <a:lnTo>
                    <a:pt x="54" y="148"/>
                  </a:lnTo>
                  <a:lnTo>
                    <a:pt x="62" y="135"/>
                  </a:lnTo>
                  <a:lnTo>
                    <a:pt x="72" y="121"/>
                  </a:lnTo>
                  <a:lnTo>
                    <a:pt x="80" y="107"/>
                  </a:lnTo>
                  <a:lnTo>
                    <a:pt x="80" y="107"/>
                  </a:lnTo>
                  <a:lnTo>
                    <a:pt x="91" y="95"/>
                  </a:lnTo>
                  <a:lnTo>
                    <a:pt x="101" y="84"/>
                  </a:lnTo>
                  <a:lnTo>
                    <a:pt x="112" y="73"/>
                  </a:lnTo>
                  <a:lnTo>
                    <a:pt x="125" y="63"/>
                  </a:lnTo>
                  <a:lnTo>
                    <a:pt x="137" y="53"/>
                  </a:lnTo>
                  <a:lnTo>
                    <a:pt x="149" y="44"/>
                  </a:lnTo>
                  <a:lnTo>
                    <a:pt x="163" y="36"/>
                  </a:lnTo>
                  <a:lnTo>
                    <a:pt x="176" y="28"/>
                  </a:lnTo>
                  <a:lnTo>
                    <a:pt x="176" y="28"/>
                  </a:lnTo>
                  <a:lnTo>
                    <a:pt x="191" y="22"/>
                  </a:lnTo>
                  <a:lnTo>
                    <a:pt x="206" y="16"/>
                  </a:lnTo>
                  <a:lnTo>
                    <a:pt x="221" y="11"/>
                  </a:lnTo>
                  <a:lnTo>
                    <a:pt x="237" y="6"/>
                  </a:lnTo>
                  <a:lnTo>
                    <a:pt x="253" y="4"/>
                  </a:lnTo>
                  <a:lnTo>
                    <a:pt x="270" y="1"/>
                  </a:lnTo>
                  <a:lnTo>
                    <a:pt x="288" y="0"/>
                  </a:lnTo>
                  <a:lnTo>
                    <a:pt x="305" y="0"/>
                  </a:lnTo>
                  <a:lnTo>
                    <a:pt x="305" y="0"/>
                  </a:lnTo>
                  <a:lnTo>
                    <a:pt x="322" y="0"/>
                  </a:lnTo>
                  <a:lnTo>
                    <a:pt x="339" y="1"/>
                  </a:lnTo>
                  <a:lnTo>
                    <a:pt x="357" y="2"/>
                  </a:lnTo>
                  <a:lnTo>
                    <a:pt x="373" y="5"/>
                  </a:lnTo>
                  <a:lnTo>
                    <a:pt x="388" y="9"/>
                  </a:lnTo>
                  <a:lnTo>
                    <a:pt x="404" y="14"/>
                  </a:lnTo>
                  <a:lnTo>
                    <a:pt x="418" y="19"/>
                  </a:lnTo>
                  <a:lnTo>
                    <a:pt x="432" y="23"/>
                  </a:lnTo>
                  <a:lnTo>
                    <a:pt x="432" y="23"/>
                  </a:lnTo>
                  <a:lnTo>
                    <a:pt x="446" y="30"/>
                  </a:lnTo>
                  <a:lnTo>
                    <a:pt x="459" y="37"/>
                  </a:lnTo>
                  <a:lnTo>
                    <a:pt x="471" y="44"/>
                  </a:lnTo>
                  <a:lnTo>
                    <a:pt x="484" y="52"/>
                  </a:lnTo>
                  <a:lnTo>
                    <a:pt x="495" y="60"/>
                  </a:lnTo>
                  <a:lnTo>
                    <a:pt x="506" y="69"/>
                  </a:lnTo>
                  <a:lnTo>
                    <a:pt x="527" y="90"/>
                  </a:lnTo>
                  <a:lnTo>
                    <a:pt x="527" y="90"/>
                  </a:lnTo>
                  <a:lnTo>
                    <a:pt x="536" y="100"/>
                  </a:lnTo>
                  <a:lnTo>
                    <a:pt x="546" y="111"/>
                  </a:lnTo>
                  <a:lnTo>
                    <a:pt x="553" y="123"/>
                  </a:lnTo>
                  <a:lnTo>
                    <a:pt x="560" y="136"/>
                  </a:lnTo>
                  <a:lnTo>
                    <a:pt x="568" y="149"/>
                  </a:lnTo>
                  <a:lnTo>
                    <a:pt x="574" y="163"/>
                  </a:lnTo>
                  <a:lnTo>
                    <a:pt x="586" y="191"/>
                  </a:lnTo>
                  <a:lnTo>
                    <a:pt x="586" y="191"/>
                  </a:lnTo>
                  <a:lnTo>
                    <a:pt x="595" y="221"/>
                  </a:lnTo>
                  <a:lnTo>
                    <a:pt x="601" y="252"/>
                  </a:lnTo>
                  <a:lnTo>
                    <a:pt x="605" y="285"/>
                  </a:lnTo>
                  <a:lnTo>
                    <a:pt x="606" y="319"/>
                  </a:lnTo>
                  <a:lnTo>
                    <a:pt x="606" y="319"/>
                  </a:lnTo>
                  <a:lnTo>
                    <a:pt x="606" y="348"/>
                  </a:lnTo>
                  <a:lnTo>
                    <a:pt x="604" y="378"/>
                  </a:lnTo>
                  <a:lnTo>
                    <a:pt x="604" y="378"/>
                  </a:lnTo>
                  <a:lnTo>
                    <a:pt x="601" y="406"/>
                  </a:lnTo>
                  <a:lnTo>
                    <a:pt x="596" y="4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dirty="0"/>
            </a:p>
          </p:txBody>
        </p:sp>
      </p:grpSp>
    </p:spTree>
    <p:extLst>
      <p:ext uri="{BB962C8B-B14F-4D97-AF65-F5344CB8AC3E}">
        <p14:creationId xmlns:p14="http://schemas.microsoft.com/office/powerpoint/2010/main" val="1477257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ublish Bot: Step 1</a:t>
            </a:r>
            <a:endParaRPr lang="uk-UA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530476" y="1072516"/>
            <a:ext cx="2719086" cy="3394472"/>
          </a:xfrm>
        </p:spPr>
        <p:txBody>
          <a:bodyPr/>
          <a:lstStyle/>
          <a:p>
            <a:r>
              <a:rPr lang="en-US" dirty="0"/>
              <a:t>Create .</a:t>
            </a:r>
            <a:r>
              <a:rPr lang="en-US" dirty="0" err="1"/>
              <a:t>env</a:t>
            </a:r>
            <a:r>
              <a:rPr lang="en-US" dirty="0"/>
              <a:t> file in your project</a:t>
            </a:r>
            <a:endParaRPr lang="en-US" dirty="0" smtClean="0"/>
          </a:p>
          <a:p>
            <a:r>
              <a:rPr lang="en-US" dirty="0" smtClean="0"/>
              <a:t>Go to portal.azure.com</a:t>
            </a:r>
          </a:p>
          <a:p>
            <a:r>
              <a:rPr lang="en-US" dirty="0" smtClean="0"/>
              <a:t>Add Bot Channel Registration</a:t>
            </a:r>
          </a:p>
          <a:p>
            <a:pPr lvl="1"/>
            <a:r>
              <a:rPr lang="en-US" dirty="0" smtClean="0"/>
              <a:t>Enter bot name</a:t>
            </a:r>
          </a:p>
          <a:p>
            <a:pPr lvl="1"/>
            <a:r>
              <a:rPr lang="en-US" dirty="0" smtClean="0"/>
              <a:t>Create resource group</a:t>
            </a:r>
          </a:p>
          <a:p>
            <a:pPr lvl="1"/>
            <a:r>
              <a:rPr lang="en-US" dirty="0" smtClean="0"/>
              <a:t>Choose location</a:t>
            </a:r>
          </a:p>
          <a:p>
            <a:pPr lvl="1"/>
            <a:r>
              <a:rPr lang="en-US" dirty="0" smtClean="0"/>
              <a:t>Pricing: F0</a:t>
            </a:r>
          </a:p>
          <a:p>
            <a:pPr lvl="1"/>
            <a:r>
              <a:rPr lang="en-US" dirty="0" smtClean="0"/>
              <a:t>Application Insights: off</a:t>
            </a:r>
          </a:p>
          <a:p>
            <a:pPr lvl="1"/>
            <a:r>
              <a:rPr lang="en-US" dirty="0" smtClean="0"/>
              <a:t>Create App ID in the App Registration Portal</a:t>
            </a:r>
          </a:p>
          <a:p>
            <a:pPr lvl="1"/>
            <a:r>
              <a:rPr lang="en-US" dirty="0" smtClean="0"/>
              <a:t>Copy App ID/Password to .</a:t>
            </a:r>
            <a:r>
              <a:rPr lang="en-US" dirty="0" err="1" smtClean="0"/>
              <a:t>env</a:t>
            </a:r>
            <a:endParaRPr lang="en-US" dirty="0" smtClean="0"/>
          </a:p>
          <a:p>
            <a:pPr lvl="1"/>
            <a:r>
              <a:rPr lang="en-US" dirty="0" smtClean="0"/>
              <a:t>Copy to App Id and Password fields and click OK</a:t>
            </a:r>
          </a:p>
          <a:p>
            <a:pPr lvl="1"/>
            <a:r>
              <a:rPr lang="en-US" dirty="0" smtClean="0"/>
              <a:t>Click Create</a:t>
            </a:r>
          </a:p>
          <a:p>
            <a:r>
              <a:rPr lang="en-US" dirty="0" smtClean="0"/>
              <a:t>Wait for deployment completion</a:t>
            </a:r>
            <a:endParaRPr lang="en-US" dirty="0"/>
          </a:p>
          <a:p>
            <a:pPr lvl="1"/>
            <a:endParaRPr lang="uk-UA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41881" y="512791"/>
            <a:ext cx="5486180" cy="39041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245003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pplication Registration</a:t>
            </a:r>
            <a:endParaRPr lang="uk-UA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39990" y="752679"/>
            <a:ext cx="5658268" cy="1854363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39990" y="2659501"/>
            <a:ext cx="4991830" cy="1873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912555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ublish Bot: Step 2</a:t>
            </a:r>
            <a:endParaRPr lang="uk-UA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530475" y="1028272"/>
            <a:ext cx="8003232" cy="3484736"/>
          </a:xfrm>
        </p:spPr>
        <p:txBody>
          <a:bodyPr/>
          <a:lstStyle/>
          <a:p>
            <a:r>
              <a:rPr lang="en-US" dirty="0" smtClean="0"/>
              <a:t>Create application service (Web App)</a:t>
            </a:r>
          </a:p>
          <a:p>
            <a:pPr lvl="1"/>
            <a:r>
              <a:rPr lang="en-US" dirty="0" smtClean="0"/>
              <a:t>App name</a:t>
            </a:r>
            <a:r>
              <a:rPr lang="en-US" dirty="0"/>
              <a:t> – </a:t>
            </a:r>
            <a:r>
              <a:rPr lang="en-US" dirty="0" smtClean="0"/>
              <a:t>same as bot channel registration name (not necessary but convenient)</a:t>
            </a:r>
          </a:p>
          <a:p>
            <a:pPr lvl="1"/>
            <a:r>
              <a:rPr lang="en-US" dirty="0" smtClean="0"/>
              <a:t>Use existing resource group – same as bot channel registration </a:t>
            </a:r>
          </a:p>
          <a:p>
            <a:pPr lvl="1"/>
            <a:r>
              <a:rPr lang="en-US" dirty="0" smtClean="0"/>
              <a:t>OS: Linux</a:t>
            </a:r>
          </a:p>
          <a:p>
            <a:pPr lvl="1"/>
            <a:r>
              <a:rPr lang="en-US" dirty="0" smtClean="0"/>
              <a:t>Runtime Stack: Node.js 8.11</a:t>
            </a:r>
          </a:p>
          <a:p>
            <a:pPr lvl="1"/>
            <a:r>
              <a:rPr lang="en-US" dirty="0" smtClean="0"/>
              <a:t>Click ‘Create’ and wait for deployment…</a:t>
            </a:r>
          </a:p>
          <a:p>
            <a:r>
              <a:rPr lang="en-US" dirty="0" smtClean="0"/>
              <a:t>Configure web app settings</a:t>
            </a:r>
          </a:p>
          <a:p>
            <a:pPr lvl="1"/>
            <a:r>
              <a:rPr lang="en-US" dirty="0" smtClean="0"/>
              <a:t>Deployment option -&gt; GitHub</a:t>
            </a:r>
          </a:p>
          <a:p>
            <a:pPr lvl="2"/>
            <a:r>
              <a:rPr lang="en-US" dirty="0" smtClean="0"/>
              <a:t>Choose project</a:t>
            </a:r>
          </a:p>
          <a:p>
            <a:pPr lvl="2"/>
            <a:r>
              <a:rPr lang="en-US" dirty="0" smtClean="0"/>
              <a:t>Choose branch (master by d</a:t>
            </a:r>
            <a:r>
              <a:rPr lang="en-US" dirty="0"/>
              <a:t>e</a:t>
            </a:r>
            <a:r>
              <a:rPr lang="en-US" dirty="0" smtClean="0"/>
              <a:t>fault)</a:t>
            </a:r>
          </a:p>
          <a:p>
            <a:pPr lvl="2"/>
            <a:r>
              <a:rPr lang="en-US" dirty="0" smtClean="0"/>
              <a:t>Click OK</a:t>
            </a:r>
          </a:p>
          <a:p>
            <a:pPr lvl="1"/>
            <a:r>
              <a:rPr lang="en-US" dirty="0" smtClean="0"/>
              <a:t>Set App ID and Password</a:t>
            </a:r>
          </a:p>
          <a:p>
            <a:pPr lvl="2"/>
            <a:r>
              <a:rPr lang="en-US" dirty="0" smtClean="0"/>
              <a:t>Click ‘Application Settings’</a:t>
            </a:r>
          </a:p>
          <a:p>
            <a:pPr lvl="2"/>
            <a:r>
              <a:rPr lang="en-US" dirty="0" smtClean="0"/>
              <a:t>Startup File: app.js</a:t>
            </a:r>
          </a:p>
          <a:p>
            <a:pPr lvl="2"/>
            <a:r>
              <a:rPr lang="en-US" dirty="0" smtClean="0"/>
              <a:t>Add new setting: </a:t>
            </a:r>
            <a:r>
              <a:rPr lang="en-US" dirty="0" err="1" smtClean="0"/>
              <a:t>MicrosoftAppId</a:t>
            </a:r>
            <a:r>
              <a:rPr lang="en-US" dirty="0"/>
              <a:t>,</a:t>
            </a:r>
            <a:r>
              <a:rPr lang="en-US" dirty="0" smtClean="0"/>
              <a:t> </a:t>
            </a:r>
            <a:r>
              <a:rPr lang="en-US" dirty="0" err="1" smtClean="0"/>
              <a:t>MicrosoftAppPassword</a:t>
            </a:r>
            <a:endParaRPr lang="en-US" dirty="0" smtClean="0"/>
          </a:p>
          <a:p>
            <a:pPr lvl="2"/>
            <a:r>
              <a:rPr lang="en-US" dirty="0" smtClean="0"/>
              <a:t>Save and Restart</a:t>
            </a:r>
          </a:p>
          <a:p>
            <a:pPr marL="0" indent="0">
              <a:buNone/>
            </a:pPr>
            <a:r>
              <a:rPr lang="en-US" dirty="0" smtClean="0"/>
              <a:t> </a:t>
            </a:r>
          </a:p>
          <a:p>
            <a:pPr marL="342900" lvl="1" indent="0">
              <a:buNone/>
            </a:pPr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04873806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ublish Bot: Step 3</a:t>
            </a:r>
            <a:endParaRPr lang="uk-UA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est endpoint: </a:t>
            </a:r>
            <a:r>
              <a:rPr lang="en-US" dirty="0">
                <a:hlinkClick r:id="rId2"/>
              </a:rPr>
              <a:t>https://botlab28.azurewebsites.net/api/messages</a:t>
            </a:r>
            <a:endParaRPr lang="en-US" dirty="0"/>
          </a:p>
          <a:p>
            <a:r>
              <a:rPr lang="en-US" dirty="0" smtClean="0"/>
              <a:t>Go to our bot channel registration</a:t>
            </a:r>
          </a:p>
          <a:p>
            <a:r>
              <a:rPr lang="en-US" dirty="0" smtClean="0"/>
              <a:t>Click ‘Settings’</a:t>
            </a:r>
          </a:p>
          <a:p>
            <a:r>
              <a:rPr lang="en-US" dirty="0" smtClean="0"/>
              <a:t>Set messaging endpoint:</a:t>
            </a:r>
          </a:p>
          <a:p>
            <a:pPr lvl="1"/>
            <a:r>
              <a:rPr lang="en-US" dirty="0">
                <a:hlinkClick r:id="rId2"/>
              </a:rPr>
              <a:t>https://</a:t>
            </a:r>
            <a:r>
              <a:rPr lang="en-US" dirty="0" smtClean="0">
                <a:hlinkClick r:id="rId2"/>
              </a:rPr>
              <a:t>botlab28.azurewebsites.net/api/messages</a:t>
            </a:r>
            <a:endParaRPr lang="en-US" dirty="0" smtClean="0"/>
          </a:p>
          <a:p>
            <a:r>
              <a:rPr lang="en-US" dirty="0" smtClean="0"/>
              <a:t>Save</a:t>
            </a:r>
          </a:p>
          <a:p>
            <a:r>
              <a:rPr lang="en-US" dirty="0" smtClean="0"/>
              <a:t>Test in Web Chat</a:t>
            </a:r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54035762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616"/>
          <a:stretch/>
        </p:blipFill>
        <p:spPr bwMode="auto">
          <a:xfrm flipH="1">
            <a:off x="0" y="0"/>
            <a:ext cx="9144000" cy="514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6"/>
          <p:cNvSpPr/>
          <p:nvPr/>
        </p:nvSpPr>
        <p:spPr>
          <a:xfrm>
            <a:off x="539750" y="1706400"/>
            <a:ext cx="2880000" cy="2880000"/>
          </a:xfrm>
          <a:prstGeom prst="rect">
            <a:avLst/>
          </a:prstGeom>
          <a:solidFill>
            <a:schemeClr val="bg2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tIns="54000" rIns="54000" bIns="54000" rtlCol="0" anchor="ctr"/>
          <a:lstStyle/>
          <a:p>
            <a:r>
              <a:rPr lang="en-US" sz="2600" dirty="0"/>
              <a:t>B</a:t>
            </a:r>
            <a:r>
              <a:rPr lang="en-US" sz="2600" dirty="0" smtClean="0"/>
              <a:t>onus</a:t>
            </a:r>
            <a:endParaRPr lang="uk-UA" sz="2600" dirty="0">
              <a:solidFill>
                <a:schemeClr val="bg1"/>
              </a:solidFill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7620000" y="4699891"/>
            <a:ext cx="1364159" cy="341218"/>
            <a:chOff x="611560" y="3553563"/>
            <a:chExt cx="5215086" cy="1304453"/>
          </a:xfrm>
          <a:solidFill>
            <a:schemeClr val="bg1"/>
          </a:solidFill>
        </p:grpSpPr>
        <p:sp>
          <p:nvSpPr>
            <p:cNvPr id="5" name="Freeform 192"/>
            <p:cNvSpPr>
              <a:spLocks/>
            </p:cNvSpPr>
            <p:nvPr/>
          </p:nvSpPr>
          <p:spPr bwMode="auto">
            <a:xfrm>
              <a:off x="611560" y="3566289"/>
              <a:ext cx="229984" cy="229983"/>
            </a:xfrm>
            <a:custGeom>
              <a:avLst/>
              <a:gdLst>
                <a:gd name="T0" fmla="*/ 253 w 253"/>
                <a:gd name="T1" fmla="*/ 126 h 253"/>
                <a:gd name="T2" fmla="*/ 251 w 253"/>
                <a:gd name="T3" fmla="*/ 152 h 253"/>
                <a:gd name="T4" fmla="*/ 244 w 253"/>
                <a:gd name="T5" fmla="*/ 175 h 253"/>
                <a:gd name="T6" fmla="*/ 232 w 253"/>
                <a:gd name="T7" fmla="*/ 197 h 253"/>
                <a:gd name="T8" fmla="*/ 216 w 253"/>
                <a:gd name="T9" fmla="*/ 216 h 253"/>
                <a:gd name="T10" fmla="*/ 198 w 253"/>
                <a:gd name="T11" fmla="*/ 232 h 253"/>
                <a:gd name="T12" fmla="*/ 177 w 253"/>
                <a:gd name="T13" fmla="*/ 243 h 253"/>
                <a:gd name="T14" fmla="*/ 152 w 253"/>
                <a:gd name="T15" fmla="*/ 250 h 253"/>
                <a:gd name="T16" fmla="*/ 128 w 253"/>
                <a:gd name="T17" fmla="*/ 253 h 253"/>
                <a:gd name="T18" fmla="*/ 114 w 253"/>
                <a:gd name="T19" fmla="*/ 253 h 253"/>
                <a:gd name="T20" fmla="*/ 89 w 253"/>
                <a:gd name="T21" fmla="*/ 247 h 253"/>
                <a:gd name="T22" fmla="*/ 67 w 253"/>
                <a:gd name="T23" fmla="*/ 238 h 253"/>
                <a:gd name="T24" fmla="*/ 46 w 253"/>
                <a:gd name="T25" fmla="*/ 225 h 253"/>
                <a:gd name="T26" fmla="*/ 30 w 253"/>
                <a:gd name="T27" fmla="*/ 207 h 253"/>
                <a:gd name="T28" fmla="*/ 15 w 253"/>
                <a:gd name="T29" fmla="*/ 186 h 253"/>
                <a:gd name="T30" fmla="*/ 7 w 253"/>
                <a:gd name="T31" fmla="*/ 164 h 253"/>
                <a:gd name="T32" fmla="*/ 2 w 253"/>
                <a:gd name="T33" fmla="*/ 139 h 253"/>
                <a:gd name="T34" fmla="*/ 0 w 253"/>
                <a:gd name="T35" fmla="*/ 126 h 253"/>
                <a:gd name="T36" fmla="*/ 3 w 253"/>
                <a:gd name="T37" fmla="*/ 101 h 253"/>
                <a:gd name="T38" fmla="*/ 10 w 253"/>
                <a:gd name="T39" fmla="*/ 78 h 253"/>
                <a:gd name="T40" fmla="*/ 23 w 253"/>
                <a:gd name="T41" fmla="*/ 55 h 253"/>
                <a:gd name="T42" fmla="*/ 37 w 253"/>
                <a:gd name="T43" fmla="*/ 37 h 253"/>
                <a:gd name="T44" fmla="*/ 56 w 253"/>
                <a:gd name="T45" fmla="*/ 21 h 253"/>
                <a:gd name="T46" fmla="*/ 78 w 253"/>
                <a:gd name="T47" fmla="*/ 10 h 253"/>
                <a:gd name="T48" fmla="*/ 102 w 253"/>
                <a:gd name="T49" fmla="*/ 2 h 253"/>
                <a:gd name="T50" fmla="*/ 128 w 253"/>
                <a:gd name="T51" fmla="*/ 0 h 253"/>
                <a:gd name="T52" fmla="*/ 140 w 253"/>
                <a:gd name="T53" fmla="*/ 0 h 253"/>
                <a:gd name="T54" fmla="*/ 165 w 253"/>
                <a:gd name="T55" fmla="*/ 5 h 253"/>
                <a:gd name="T56" fmla="*/ 188 w 253"/>
                <a:gd name="T57" fmla="*/ 15 h 253"/>
                <a:gd name="T58" fmla="*/ 208 w 253"/>
                <a:gd name="T59" fmla="*/ 28 h 253"/>
                <a:gd name="T60" fmla="*/ 225 w 253"/>
                <a:gd name="T61" fmla="*/ 46 h 253"/>
                <a:gd name="T62" fmla="*/ 239 w 253"/>
                <a:gd name="T63" fmla="*/ 67 h 253"/>
                <a:gd name="T64" fmla="*/ 249 w 253"/>
                <a:gd name="T65" fmla="*/ 89 h 253"/>
                <a:gd name="T66" fmla="*/ 253 w 253"/>
                <a:gd name="T67" fmla="*/ 113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53" h="253">
                  <a:moveTo>
                    <a:pt x="253" y="126"/>
                  </a:moveTo>
                  <a:lnTo>
                    <a:pt x="253" y="126"/>
                  </a:lnTo>
                  <a:lnTo>
                    <a:pt x="253" y="139"/>
                  </a:lnTo>
                  <a:lnTo>
                    <a:pt x="251" y="152"/>
                  </a:lnTo>
                  <a:lnTo>
                    <a:pt x="249" y="164"/>
                  </a:lnTo>
                  <a:lnTo>
                    <a:pt x="244" y="175"/>
                  </a:lnTo>
                  <a:lnTo>
                    <a:pt x="239" y="186"/>
                  </a:lnTo>
                  <a:lnTo>
                    <a:pt x="232" y="197"/>
                  </a:lnTo>
                  <a:lnTo>
                    <a:pt x="225" y="207"/>
                  </a:lnTo>
                  <a:lnTo>
                    <a:pt x="216" y="216"/>
                  </a:lnTo>
                  <a:lnTo>
                    <a:pt x="208" y="225"/>
                  </a:lnTo>
                  <a:lnTo>
                    <a:pt x="198" y="232"/>
                  </a:lnTo>
                  <a:lnTo>
                    <a:pt x="188" y="238"/>
                  </a:lnTo>
                  <a:lnTo>
                    <a:pt x="177" y="243"/>
                  </a:lnTo>
                  <a:lnTo>
                    <a:pt x="165" y="247"/>
                  </a:lnTo>
                  <a:lnTo>
                    <a:pt x="152" y="250"/>
                  </a:lnTo>
                  <a:lnTo>
                    <a:pt x="140" y="253"/>
                  </a:lnTo>
                  <a:lnTo>
                    <a:pt x="128" y="253"/>
                  </a:lnTo>
                  <a:lnTo>
                    <a:pt x="128" y="253"/>
                  </a:lnTo>
                  <a:lnTo>
                    <a:pt x="114" y="253"/>
                  </a:lnTo>
                  <a:lnTo>
                    <a:pt x="102" y="250"/>
                  </a:lnTo>
                  <a:lnTo>
                    <a:pt x="89" y="247"/>
                  </a:lnTo>
                  <a:lnTo>
                    <a:pt x="78" y="243"/>
                  </a:lnTo>
                  <a:lnTo>
                    <a:pt x="67" y="238"/>
                  </a:lnTo>
                  <a:lnTo>
                    <a:pt x="56" y="232"/>
                  </a:lnTo>
                  <a:lnTo>
                    <a:pt x="46" y="225"/>
                  </a:lnTo>
                  <a:lnTo>
                    <a:pt x="37" y="216"/>
                  </a:lnTo>
                  <a:lnTo>
                    <a:pt x="30" y="207"/>
                  </a:lnTo>
                  <a:lnTo>
                    <a:pt x="23" y="197"/>
                  </a:lnTo>
                  <a:lnTo>
                    <a:pt x="15" y="186"/>
                  </a:lnTo>
                  <a:lnTo>
                    <a:pt x="10" y="175"/>
                  </a:lnTo>
                  <a:lnTo>
                    <a:pt x="7" y="164"/>
                  </a:lnTo>
                  <a:lnTo>
                    <a:pt x="3" y="152"/>
                  </a:lnTo>
                  <a:lnTo>
                    <a:pt x="2" y="139"/>
                  </a:lnTo>
                  <a:lnTo>
                    <a:pt x="0" y="126"/>
                  </a:lnTo>
                  <a:lnTo>
                    <a:pt x="0" y="126"/>
                  </a:lnTo>
                  <a:lnTo>
                    <a:pt x="2" y="113"/>
                  </a:lnTo>
                  <a:lnTo>
                    <a:pt x="3" y="101"/>
                  </a:lnTo>
                  <a:lnTo>
                    <a:pt x="7" y="89"/>
                  </a:lnTo>
                  <a:lnTo>
                    <a:pt x="10" y="78"/>
                  </a:lnTo>
                  <a:lnTo>
                    <a:pt x="15" y="67"/>
                  </a:lnTo>
                  <a:lnTo>
                    <a:pt x="23" y="55"/>
                  </a:lnTo>
                  <a:lnTo>
                    <a:pt x="30" y="46"/>
                  </a:lnTo>
                  <a:lnTo>
                    <a:pt x="37" y="37"/>
                  </a:lnTo>
                  <a:lnTo>
                    <a:pt x="46" y="28"/>
                  </a:lnTo>
                  <a:lnTo>
                    <a:pt x="56" y="21"/>
                  </a:lnTo>
                  <a:lnTo>
                    <a:pt x="67" y="15"/>
                  </a:lnTo>
                  <a:lnTo>
                    <a:pt x="78" y="10"/>
                  </a:lnTo>
                  <a:lnTo>
                    <a:pt x="89" y="5"/>
                  </a:lnTo>
                  <a:lnTo>
                    <a:pt x="102" y="2"/>
                  </a:lnTo>
                  <a:lnTo>
                    <a:pt x="114" y="0"/>
                  </a:lnTo>
                  <a:lnTo>
                    <a:pt x="128" y="0"/>
                  </a:lnTo>
                  <a:lnTo>
                    <a:pt x="128" y="0"/>
                  </a:lnTo>
                  <a:lnTo>
                    <a:pt x="140" y="0"/>
                  </a:lnTo>
                  <a:lnTo>
                    <a:pt x="152" y="2"/>
                  </a:lnTo>
                  <a:lnTo>
                    <a:pt x="165" y="5"/>
                  </a:lnTo>
                  <a:lnTo>
                    <a:pt x="177" y="10"/>
                  </a:lnTo>
                  <a:lnTo>
                    <a:pt x="188" y="15"/>
                  </a:lnTo>
                  <a:lnTo>
                    <a:pt x="198" y="21"/>
                  </a:lnTo>
                  <a:lnTo>
                    <a:pt x="208" y="28"/>
                  </a:lnTo>
                  <a:lnTo>
                    <a:pt x="216" y="37"/>
                  </a:lnTo>
                  <a:lnTo>
                    <a:pt x="225" y="46"/>
                  </a:lnTo>
                  <a:lnTo>
                    <a:pt x="232" y="55"/>
                  </a:lnTo>
                  <a:lnTo>
                    <a:pt x="239" y="67"/>
                  </a:lnTo>
                  <a:lnTo>
                    <a:pt x="244" y="78"/>
                  </a:lnTo>
                  <a:lnTo>
                    <a:pt x="249" y="89"/>
                  </a:lnTo>
                  <a:lnTo>
                    <a:pt x="251" y="101"/>
                  </a:lnTo>
                  <a:lnTo>
                    <a:pt x="253" y="113"/>
                  </a:lnTo>
                  <a:lnTo>
                    <a:pt x="253" y="1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dirty="0"/>
            </a:p>
          </p:txBody>
        </p:sp>
        <p:sp>
          <p:nvSpPr>
            <p:cNvPr id="6" name="Freeform 194"/>
            <p:cNvSpPr>
              <a:spLocks/>
            </p:cNvSpPr>
            <p:nvPr/>
          </p:nvSpPr>
          <p:spPr bwMode="auto">
            <a:xfrm>
              <a:off x="1004260" y="3872631"/>
              <a:ext cx="557234" cy="689951"/>
            </a:xfrm>
            <a:custGeom>
              <a:avLst/>
              <a:gdLst>
                <a:gd name="T0" fmla="*/ 587 w 613"/>
                <a:gd name="T1" fmla="*/ 590 h 759"/>
                <a:gd name="T2" fmla="*/ 590 w 613"/>
                <a:gd name="T3" fmla="*/ 651 h 759"/>
                <a:gd name="T4" fmla="*/ 601 w 613"/>
                <a:gd name="T5" fmla="*/ 700 h 759"/>
                <a:gd name="T6" fmla="*/ 613 w 613"/>
                <a:gd name="T7" fmla="*/ 726 h 759"/>
                <a:gd name="T8" fmla="*/ 582 w 613"/>
                <a:gd name="T9" fmla="*/ 747 h 759"/>
                <a:gd name="T10" fmla="*/ 546 w 613"/>
                <a:gd name="T11" fmla="*/ 757 h 759"/>
                <a:gd name="T12" fmla="*/ 521 w 613"/>
                <a:gd name="T13" fmla="*/ 759 h 759"/>
                <a:gd name="T14" fmla="*/ 488 w 613"/>
                <a:gd name="T15" fmla="*/ 756 h 759"/>
                <a:gd name="T16" fmla="*/ 463 w 613"/>
                <a:gd name="T17" fmla="*/ 746 h 759"/>
                <a:gd name="T18" fmla="*/ 452 w 613"/>
                <a:gd name="T19" fmla="*/ 735 h 759"/>
                <a:gd name="T20" fmla="*/ 440 w 613"/>
                <a:gd name="T21" fmla="*/ 714 h 759"/>
                <a:gd name="T22" fmla="*/ 434 w 613"/>
                <a:gd name="T23" fmla="*/ 662 h 759"/>
                <a:gd name="T24" fmla="*/ 432 w 613"/>
                <a:gd name="T25" fmla="*/ 247 h 759"/>
                <a:gd name="T26" fmla="*/ 425 w 613"/>
                <a:gd name="T27" fmla="*/ 204 h 759"/>
                <a:gd name="T28" fmla="*/ 413 w 613"/>
                <a:gd name="T29" fmla="*/ 173 h 759"/>
                <a:gd name="T30" fmla="*/ 402 w 613"/>
                <a:gd name="T31" fmla="*/ 158 h 759"/>
                <a:gd name="T32" fmla="*/ 377 w 613"/>
                <a:gd name="T33" fmla="*/ 144 h 759"/>
                <a:gd name="T34" fmla="*/ 344 w 613"/>
                <a:gd name="T35" fmla="*/ 139 h 759"/>
                <a:gd name="T36" fmla="*/ 294 w 613"/>
                <a:gd name="T37" fmla="*/ 146 h 759"/>
                <a:gd name="T38" fmla="*/ 242 w 613"/>
                <a:gd name="T39" fmla="*/ 164 h 759"/>
                <a:gd name="T40" fmla="*/ 173 w 613"/>
                <a:gd name="T41" fmla="*/ 211 h 759"/>
                <a:gd name="T42" fmla="*/ 152 w 613"/>
                <a:gd name="T43" fmla="*/ 748 h 759"/>
                <a:gd name="T44" fmla="*/ 100 w 613"/>
                <a:gd name="T45" fmla="*/ 754 h 759"/>
                <a:gd name="T46" fmla="*/ 55 w 613"/>
                <a:gd name="T47" fmla="*/ 753 h 759"/>
                <a:gd name="T48" fmla="*/ 15 w 613"/>
                <a:gd name="T49" fmla="*/ 751 h 759"/>
                <a:gd name="T50" fmla="*/ 9 w 613"/>
                <a:gd name="T51" fmla="*/ 9 h 759"/>
                <a:gd name="T52" fmla="*/ 77 w 613"/>
                <a:gd name="T53" fmla="*/ 9 h 759"/>
                <a:gd name="T54" fmla="*/ 102 w 613"/>
                <a:gd name="T55" fmla="*/ 14 h 759"/>
                <a:gd name="T56" fmla="*/ 123 w 613"/>
                <a:gd name="T57" fmla="*/ 26 h 759"/>
                <a:gd name="T58" fmla="*/ 137 w 613"/>
                <a:gd name="T59" fmla="*/ 44 h 759"/>
                <a:gd name="T60" fmla="*/ 147 w 613"/>
                <a:gd name="T61" fmla="*/ 69 h 759"/>
                <a:gd name="T62" fmla="*/ 152 w 613"/>
                <a:gd name="T63" fmla="*/ 100 h 759"/>
                <a:gd name="T64" fmla="*/ 221 w 613"/>
                <a:gd name="T65" fmla="*/ 47 h 759"/>
                <a:gd name="T66" fmla="*/ 266 w 613"/>
                <a:gd name="T67" fmla="*/ 25 h 759"/>
                <a:gd name="T68" fmla="*/ 310 w 613"/>
                <a:gd name="T69" fmla="*/ 10 h 759"/>
                <a:gd name="T70" fmla="*/ 357 w 613"/>
                <a:gd name="T71" fmla="*/ 2 h 759"/>
                <a:gd name="T72" fmla="*/ 389 w 613"/>
                <a:gd name="T73" fmla="*/ 0 h 759"/>
                <a:gd name="T74" fmla="*/ 457 w 613"/>
                <a:gd name="T75" fmla="*/ 10 h 759"/>
                <a:gd name="T76" fmla="*/ 510 w 613"/>
                <a:gd name="T77" fmla="*/ 37 h 759"/>
                <a:gd name="T78" fmla="*/ 537 w 613"/>
                <a:gd name="T79" fmla="*/ 67 h 759"/>
                <a:gd name="T80" fmla="*/ 568 w 613"/>
                <a:gd name="T81" fmla="*/ 122 h 759"/>
                <a:gd name="T82" fmla="*/ 584 w 613"/>
                <a:gd name="T83" fmla="*/ 191 h 7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13" h="759">
                  <a:moveTo>
                    <a:pt x="587" y="244"/>
                  </a:moveTo>
                  <a:lnTo>
                    <a:pt x="587" y="590"/>
                  </a:lnTo>
                  <a:lnTo>
                    <a:pt x="587" y="590"/>
                  </a:lnTo>
                  <a:lnTo>
                    <a:pt x="588" y="612"/>
                  </a:lnTo>
                  <a:lnTo>
                    <a:pt x="589" y="632"/>
                  </a:lnTo>
                  <a:lnTo>
                    <a:pt x="590" y="651"/>
                  </a:lnTo>
                  <a:lnTo>
                    <a:pt x="594" y="669"/>
                  </a:lnTo>
                  <a:lnTo>
                    <a:pt x="597" y="685"/>
                  </a:lnTo>
                  <a:lnTo>
                    <a:pt x="601" y="700"/>
                  </a:lnTo>
                  <a:lnTo>
                    <a:pt x="606" y="714"/>
                  </a:lnTo>
                  <a:lnTo>
                    <a:pt x="613" y="726"/>
                  </a:lnTo>
                  <a:lnTo>
                    <a:pt x="613" y="726"/>
                  </a:lnTo>
                  <a:lnTo>
                    <a:pt x="603" y="735"/>
                  </a:lnTo>
                  <a:lnTo>
                    <a:pt x="592" y="741"/>
                  </a:lnTo>
                  <a:lnTo>
                    <a:pt x="582" y="747"/>
                  </a:lnTo>
                  <a:lnTo>
                    <a:pt x="571" y="751"/>
                  </a:lnTo>
                  <a:lnTo>
                    <a:pt x="558" y="754"/>
                  </a:lnTo>
                  <a:lnTo>
                    <a:pt x="546" y="757"/>
                  </a:lnTo>
                  <a:lnTo>
                    <a:pt x="534" y="758"/>
                  </a:lnTo>
                  <a:lnTo>
                    <a:pt x="521" y="759"/>
                  </a:lnTo>
                  <a:lnTo>
                    <a:pt x="521" y="759"/>
                  </a:lnTo>
                  <a:lnTo>
                    <a:pt x="509" y="759"/>
                  </a:lnTo>
                  <a:lnTo>
                    <a:pt x="498" y="758"/>
                  </a:lnTo>
                  <a:lnTo>
                    <a:pt x="488" y="756"/>
                  </a:lnTo>
                  <a:lnTo>
                    <a:pt x="478" y="753"/>
                  </a:lnTo>
                  <a:lnTo>
                    <a:pt x="471" y="749"/>
                  </a:lnTo>
                  <a:lnTo>
                    <a:pt x="463" y="746"/>
                  </a:lnTo>
                  <a:lnTo>
                    <a:pt x="457" y="741"/>
                  </a:lnTo>
                  <a:lnTo>
                    <a:pt x="452" y="735"/>
                  </a:lnTo>
                  <a:lnTo>
                    <a:pt x="452" y="735"/>
                  </a:lnTo>
                  <a:lnTo>
                    <a:pt x="447" y="728"/>
                  </a:lnTo>
                  <a:lnTo>
                    <a:pt x="443" y="721"/>
                  </a:lnTo>
                  <a:lnTo>
                    <a:pt x="440" y="714"/>
                  </a:lnTo>
                  <a:lnTo>
                    <a:pt x="437" y="704"/>
                  </a:lnTo>
                  <a:lnTo>
                    <a:pt x="435" y="684"/>
                  </a:lnTo>
                  <a:lnTo>
                    <a:pt x="434" y="662"/>
                  </a:lnTo>
                  <a:lnTo>
                    <a:pt x="434" y="283"/>
                  </a:lnTo>
                  <a:lnTo>
                    <a:pt x="434" y="283"/>
                  </a:lnTo>
                  <a:lnTo>
                    <a:pt x="432" y="247"/>
                  </a:lnTo>
                  <a:lnTo>
                    <a:pt x="430" y="231"/>
                  </a:lnTo>
                  <a:lnTo>
                    <a:pt x="429" y="217"/>
                  </a:lnTo>
                  <a:lnTo>
                    <a:pt x="425" y="204"/>
                  </a:lnTo>
                  <a:lnTo>
                    <a:pt x="421" y="193"/>
                  </a:lnTo>
                  <a:lnTo>
                    <a:pt x="418" y="181"/>
                  </a:lnTo>
                  <a:lnTo>
                    <a:pt x="413" y="173"/>
                  </a:lnTo>
                  <a:lnTo>
                    <a:pt x="413" y="173"/>
                  </a:lnTo>
                  <a:lnTo>
                    <a:pt x="408" y="165"/>
                  </a:lnTo>
                  <a:lnTo>
                    <a:pt x="402" y="158"/>
                  </a:lnTo>
                  <a:lnTo>
                    <a:pt x="394" y="152"/>
                  </a:lnTo>
                  <a:lnTo>
                    <a:pt x="385" y="148"/>
                  </a:lnTo>
                  <a:lnTo>
                    <a:pt x="377" y="144"/>
                  </a:lnTo>
                  <a:lnTo>
                    <a:pt x="366" y="142"/>
                  </a:lnTo>
                  <a:lnTo>
                    <a:pt x="355" y="141"/>
                  </a:lnTo>
                  <a:lnTo>
                    <a:pt x="344" y="139"/>
                  </a:lnTo>
                  <a:lnTo>
                    <a:pt x="344" y="139"/>
                  </a:lnTo>
                  <a:lnTo>
                    <a:pt x="319" y="141"/>
                  </a:lnTo>
                  <a:lnTo>
                    <a:pt x="294" y="146"/>
                  </a:lnTo>
                  <a:lnTo>
                    <a:pt x="268" y="153"/>
                  </a:lnTo>
                  <a:lnTo>
                    <a:pt x="242" y="164"/>
                  </a:lnTo>
                  <a:lnTo>
                    <a:pt x="242" y="164"/>
                  </a:lnTo>
                  <a:lnTo>
                    <a:pt x="218" y="178"/>
                  </a:lnTo>
                  <a:lnTo>
                    <a:pt x="195" y="193"/>
                  </a:lnTo>
                  <a:lnTo>
                    <a:pt x="173" y="211"/>
                  </a:lnTo>
                  <a:lnTo>
                    <a:pt x="152" y="232"/>
                  </a:lnTo>
                  <a:lnTo>
                    <a:pt x="152" y="748"/>
                  </a:lnTo>
                  <a:lnTo>
                    <a:pt x="152" y="748"/>
                  </a:lnTo>
                  <a:lnTo>
                    <a:pt x="139" y="751"/>
                  </a:lnTo>
                  <a:lnTo>
                    <a:pt x="121" y="753"/>
                  </a:lnTo>
                  <a:lnTo>
                    <a:pt x="100" y="754"/>
                  </a:lnTo>
                  <a:lnTo>
                    <a:pt x="77" y="754"/>
                  </a:lnTo>
                  <a:lnTo>
                    <a:pt x="77" y="754"/>
                  </a:lnTo>
                  <a:lnTo>
                    <a:pt x="55" y="753"/>
                  </a:lnTo>
                  <a:lnTo>
                    <a:pt x="34" y="752"/>
                  </a:lnTo>
                  <a:lnTo>
                    <a:pt x="34" y="752"/>
                  </a:lnTo>
                  <a:lnTo>
                    <a:pt x="15" y="751"/>
                  </a:lnTo>
                  <a:lnTo>
                    <a:pt x="0" y="747"/>
                  </a:lnTo>
                  <a:lnTo>
                    <a:pt x="0" y="17"/>
                  </a:lnTo>
                  <a:lnTo>
                    <a:pt x="9" y="9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77" y="9"/>
                  </a:lnTo>
                  <a:lnTo>
                    <a:pt x="86" y="10"/>
                  </a:lnTo>
                  <a:lnTo>
                    <a:pt x="94" y="11"/>
                  </a:lnTo>
                  <a:lnTo>
                    <a:pt x="102" y="14"/>
                  </a:lnTo>
                  <a:lnTo>
                    <a:pt x="109" y="17"/>
                  </a:lnTo>
                  <a:lnTo>
                    <a:pt x="116" y="21"/>
                  </a:lnTo>
                  <a:lnTo>
                    <a:pt x="123" y="26"/>
                  </a:lnTo>
                  <a:lnTo>
                    <a:pt x="128" y="31"/>
                  </a:lnTo>
                  <a:lnTo>
                    <a:pt x="134" y="37"/>
                  </a:lnTo>
                  <a:lnTo>
                    <a:pt x="137" y="44"/>
                  </a:lnTo>
                  <a:lnTo>
                    <a:pt x="141" y="52"/>
                  </a:lnTo>
                  <a:lnTo>
                    <a:pt x="145" y="60"/>
                  </a:lnTo>
                  <a:lnTo>
                    <a:pt x="147" y="69"/>
                  </a:lnTo>
                  <a:lnTo>
                    <a:pt x="150" y="79"/>
                  </a:lnTo>
                  <a:lnTo>
                    <a:pt x="152" y="100"/>
                  </a:lnTo>
                  <a:lnTo>
                    <a:pt x="152" y="100"/>
                  </a:lnTo>
                  <a:lnTo>
                    <a:pt x="179" y="76"/>
                  </a:lnTo>
                  <a:lnTo>
                    <a:pt x="208" y="57"/>
                  </a:lnTo>
                  <a:lnTo>
                    <a:pt x="221" y="47"/>
                  </a:lnTo>
                  <a:lnTo>
                    <a:pt x="236" y="39"/>
                  </a:lnTo>
                  <a:lnTo>
                    <a:pt x="251" y="32"/>
                  </a:lnTo>
                  <a:lnTo>
                    <a:pt x="266" y="25"/>
                  </a:lnTo>
                  <a:lnTo>
                    <a:pt x="281" y="20"/>
                  </a:lnTo>
                  <a:lnTo>
                    <a:pt x="295" y="15"/>
                  </a:lnTo>
                  <a:lnTo>
                    <a:pt x="310" y="10"/>
                  </a:lnTo>
                  <a:lnTo>
                    <a:pt x="326" y="6"/>
                  </a:lnTo>
                  <a:lnTo>
                    <a:pt x="341" y="4"/>
                  </a:lnTo>
                  <a:lnTo>
                    <a:pt x="357" y="2"/>
                  </a:lnTo>
                  <a:lnTo>
                    <a:pt x="373" y="1"/>
                  </a:lnTo>
                  <a:lnTo>
                    <a:pt x="389" y="0"/>
                  </a:lnTo>
                  <a:lnTo>
                    <a:pt x="389" y="0"/>
                  </a:lnTo>
                  <a:lnTo>
                    <a:pt x="413" y="1"/>
                  </a:lnTo>
                  <a:lnTo>
                    <a:pt x="436" y="5"/>
                  </a:lnTo>
                  <a:lnTo>
                    <a:pt x="457" y="10"/>
                  </a:lnTo>
                  <a:lnTo>
                    <a:pt x="476" y="17"/>
                  </a:lnTo>
                  <a:lnTo>
                    <a:pt x="494" y="26"/>
                  </a:lnTo>
                  <a:lnTo>
                    <a:pt x="510" y="37"/>
                  </a:lnTo>
                  <a:lnTo>
                    <a:pt x="525" y="51"/>
                  </a:lnTo>
                  <a:lnTo>
                    <a:pt x="537" y="67"/>
                  </a:lnTo>
                  <a:lnTo>
                    <a:pt x="537" y="67"/>
                  </a:lnTo>
                  <a:lnTo>
                    <a:pt x="550" y="84"/>
                  </a:lnTo>
                  <a:lnTo>
                    <a:pt x="560" y="102"/>
                  </a:lnTo>
                  <a:lnTo>
                    <a:pt x="568" y="122"/>
                  </a:lnTo>
                  <a:lnTo>
                    <a:pt x="574" y="144"/>
                  </a:lnTo>
                  <a:lnTo>
                    <a:pt x="580" y="167"/>
                  </a:lnTo>
                  <a:lnTo>
                    <a:pt x="584" y="191"/>
                  </a:lnTo>
                  <a:lnTo>
                    <a:pt x="587" y="217"/>
                  </a:lnTo>
                  <a:lnTo>
                    <a:pt x="587" y="2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dirty="0"/>
            </a:p>
          </p:txBody>
        </p:sp>
        <p:sp>
          <p:nvSpPr>
            <p:cNvPr id="8" name="Freeform 196"/>
            <p:cNvSpPr>
              <a:spLocks/>
            </p:cNvSpPr>
            <p:nvPr/>
          </p:nvSpPr>
          <p:spPr bwMode="auto">
            <a:xfrm>
              <a:off x="657920" y="3880813"/>
              <a:ext cx="139081" cy="679043"/>
            </a:xfrm>
            <a:custGeom>
              <a:avLst/>
              <a:gdLst>
                <a:gd name="T0" fmla="*/ 152 w 153"/>
                <a:gd name="T1" fmla="*/ 91 h 747"/>
                <a:gd name="T2" fmla="*/ 152 w 153"/>
                <a:gd name="T3" fmla="*/ 91 h 747"/>
                <a:gd name="T4" fmla="*/ 149 w 153"/>
                <a:gd name="T5" fmla="*/ 69 h 747"/>
                <a:gd name="T6" fmla="*/ 147 w 153"/>
                <a:gd name="T7" fmla="*/ 60 h 747"/>
                <a:gd name="T8" fmla="*/ 144 w 153"/>
                <a:gd name="T9" fmla="*/ 50 h 747"/>
                <a:gd name="T10" fmla="*/ 142 w 153"/>
                <a:gd name="T11" fmla="*/ 43 h 747"/>
                <a:gd name="T12" fmla="*/ 138 w 153"/>
                <a:gd name="T13" fmla="*/ 34 h 747"/>
                <a:gd name="T14" fmla="*/ 133 w 153"/>
                <a:gd name="T15" fmla="*/ 28 h 747"/>
                <a:gd name="T16" fmla="*/ 128 w 153"/>
                <a:gd name="T17" fmla="*/ 22 h 747"/>
                <a:gd name="T18" fmla="*/ 122 w 153"/>
                <a:gd name="T19" fmla="*/ 17 h 747"/>
                <a:gd name="T20" fmla="*/ 116 w 153"/>
                <a:gd name="T21" fmla="*/ 12 h 747"/>
                <a:gd name="T22" fmla="*/ 110 w 153"/>
                <a:gd name="T23" fmla="*/ 8 h 747"/>
                <a:gd name="T24" fmla="*/ 102 w 153"/>
                <a:gd name="T25" fmla="*/ 5 h 747"/>
                <a:gd name="T26" fmla="*/ 94 w 153"/>
                <a:gd name="T27" fmla="*/ 2 h 747"/>
                <a:gd name="T28" fmla="*/ 85 w 153"/>
                <a:gd name="T29" fmla="*/ 1 h 747"/>
                <a:gd name="T30" fmla="*/ 77 w 153"/>
                <a:gd name="T31" fmla="*/ 0 h 747"/>
                <a:gd name="T32" fmla="*/ 67 w 153"/>
                <a:gd name="T33" fmla="*/ 0 h 747"/>
                <a:gd name="T34" fmla="*/ 9 w 153"/>
                <a:gd name="T35" fmla="*/ 0 h 747"/>
                <a:gd name="T36" fmla="*/ 0 w 153"/>
                <a:gd name="T37" fmla="*/ 8 h 747"/>
                <a:gd name="T38" fmla="*/ 0 w 153"/>
                <a:gd name="T39" fmla="*/ 740 h 747"/>
                <a:gd name="T40" fmla="*/ 0 w 153"/>
                <a:gd name="T41" fmla="*/ 740 h 747"/>
                <a:gd name="T42" fmla="*/ 16 w 153"/>
                <a:gd name="T43" fmla="*/ 743 h 747"/>
                <a:gd name="T44" fmla="*/ 33 w 153"/>
                <a:gd name="T45" fmla="*/ 745 h 747"/>
                <a:gd name="T46" fmla="*/ 33 w 153"/>
                <a:gd name="T47" fmla="*/ 745 h 747"/>
                <a:gd name="T48" fmla="*/ 54 w 153"/>
                <a:gd name="T49" fmla="*/ 747 h 747"/>
                <a:gd name="T50" fmla="*/ 77 w 153"/>
                <a:gd name="T51" fmla="*/ 747 h 747"/>
                <a:gd name="T52" fmla="*/ 77 w 153"/>
                <a:gd name="T53" fmla="*/ 747 h 747"/>
                <a:gd name="T54" fmla="*/ 101 w 153"/>
                <a:gd name="T55" fmla="*/ 745 h 747"/>
                <a:gd name="T56" fmla="*/ 121 w 153"/>
                <a:gd name="T57" fmla="*/ 745 h 747"/>
                <a:gd name="T58" fmla="*/ 138 w 153"/>
                <a:gd name="T59" fmla="*/ 743 h 747"/>
                <a:gd name="T60" fmla="*/ 153 w 153"/>
                <a:gd name="T61" fmla="*/ 740 h 747"/>
                <a:gd name="T62" fmla="*/ 153 w 153"/>
                <a:gd name="T63" fmla="*/ 223 h 747"/>
                <a:gd name="T64" fmla="*/ 153 w 153"/>
                <a:gd name="T65" fmla="*/ 223 h 747"/>
                <a:gd name="T66" fmla="*/ 152 w 153"/>
                <a:gd name="T67" fmla="*/ 156 h 747"/>
                <a:gd name="T68" fmla="*/ 152 w 153"/>
                <a:gd name="T69" fmla="*/ 121 h 747"/>
                <a:gd name="T70" fmla="*/ 152 w 153"/>
                <a:gd name="T71" fmla="*/ 91 h 7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53" h="747">
                  <a:moveTo>
                    <a:pt x="152" y="91"/>
                  </a:moveTo>
                  <a:lnTo>
                    <a:pt x="152" y="91"/>
                  </a:lnTo>
                  <a:lnTo>
                    <a:pt x="149" y="69"/>
                  </a:lnTo>
                  <a:lnTo>
                    <a:pt x="147" y="60"/>
                  </a:lnTo>
                  <a:lnTo>
                    <a:pt x="144" y="50"/>
                  </a:lnTo>
                  <a:lnTo>
                    <a:pt x="142" y="43"/>
                  </a:lnTo>
                  <a:lnTo>
                    <a:pt x="138" y="34"/>
                  </a:lnTo>
                  <a:lnTo>
                    <a:pt x="133" y="28"/>
                  </a:lnTo>
                  <a:lnTo>
                    <a:pt x="128" y="22"/>
                  </a:lnTo>
                  <a:lnTo>
                    <a:pt x="122" y="17"/>
                  </a:lnTo>
                  <a:lnTo>
                    <a:pt x="116" y="12"/>
                  </a:lnTo>
                  <a:lnTo>
                    <a:pt x="110" y="8"/>
                  </a:lnTo>
                  <a:lnTo>
                    <a:pt x="102" y="5"/>
                  </a:lnTo>
                  <a:lnTo>
                    <a:pt x="94" y="2"/>
                  </a:lnTo>
                  <a:lnTo>
                    <a:pt x="85" y="1"/>
                  </a:lnTo>
                  <a:lnTo>
                    <a:pt x="77" y="0"/>
                  </a:lnTo>
                  <a:lnTo>
                    <a:pt x="67" y="0"/>
                  </a:lnTo>
                  <a:lnTo>
                    <a:pt x="9" y="0"/>
                  </a:lnTo>
                  <a:lnTo>
                    <a:pt x="0" y="8"/>
                  </a:lnTo>
                  <a:lnTo>
                    <a:pt x="0" y="740"/>
                  </a:lnTo>
                  <a:lnTo>
                    <a:pt x="0" y="740"/>
                  </a:lnTo>
                  <a:lnTo>
                    <a:pt x="16" y="743"/>
                  </a:lnTo>
                  <a:lnTo>
                    <a:pt x="33" y="745"/>
                  </a:lnTo>
                  <a:lnTo>
                    <a:pt x="33" y="745"/>
                  </a:lnTo>
                  <a:lnTo>
                    <a:pt x="54" y="747"/>
                  </a:lnTo>
                  <a:lnTo>
                    <a:pt x="77" y="747"/>
                  </a:lnTo>
                  <a:lnTo>
                    <a:pt x="77" y="747"/>
                  </a:lnTo>
                  <a:lnTo>
                    <a:pt x="101" y="745"/>
                  </a:lnTo>
                  <a:lnTo>
                    <a:pt x="121" y="745"/>
                  </a:lnTo>
                  <a:lnTo>
                    <a:pt x="138" y="743"/>
                  </a:lnTo>
                  <a:lnTo>
                    <a:pt x="153" y="740"/>
                  </a:lnTo>
                  <a:lnTo>
                    <a:pt x="153" y="223"/>
                  </a:lnTo>
                  <a:lnTo>
                    <a:pt x="153" y="223"/>
                  </a:lnTo>
                  <a:lnTo>
                    <a:pt x="152" y="156"/>
                  </a:lnTo>
                  <a:lnTo>
                    <a:pt x="152" y="121"/>
                  </a:lnTo>
                  <a:lnTo>
                    <a:pt x="152" y="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dirty="0"/>
            </a:p>
          </p:txBody>
        </p:sp>
        <p:sp>
          <p:nvSpPr>
            <p:cNvPr id="9" name="Freeform 198"/>
            <p:cNvSpPr>
              <a:spLocks/>
            </p:cNvSpPr>
            <p:nvPr/>
          </p:nvSpPr>
          <p:spPr bwMode="auto">
            <a:xfrm>
              <a:off x="1652395" y="3553563"/>
              <a:ext cx="489056" cy="1007202"/>
            </a:xfrm>
            <a:custGeom>
              <a:avLst/>
              <a:gdLst>
                <a:gd name="T0" fmla="*/ 134 w 538"/>
                <a:gd name="T1" fmla="*/ 476 h 1108"/>
                <a:gd name="T2" fmla="*/ 7 w 538"/>
                <a:gd name="T3" fmla="*/ 478 h 1108"/>
                <a:gd name="T4" fmla="*/ 2 w 538"/>
                <a:gd name="T5" fmla="*/ 451 h 1108"/>
                <a:gd name="T6" fmla="*/ 1 w 538"/>
                <a:gd name="T7" fmla="*/ 436 h 1108"/>
                <a:gd name="T8" fmla="*/ 0 w 538"/>
                <a:gd name="T9" fmla="*/ 421 h 1108"/>
                <a:gd name="T10" fmla="*/ 1 w 538"/>
                <a:gd name="T11" fmla="*/ 389 h 1108"/>
                <a:gd name="T12" fmla="*/ 6 w 538"/>
                <a:gd name="T13" fmla="*/ 363 h 1108"/>
                <a:gd name="T14" fmla="*/ 127 w 538"/>
                <a:gd name="T15" fmla="*/ 365 h 1108"/>
                <a:gd name="T16" fmla="*/ 118 w 538"/>
                <a:gd name="T17" fmla="*/ 256 h 1108"/>
                <a:gd name="T18" fmla="*/ 118 w 538"/>
                <a:gd name="T19" fmla="*/ 232 h 1108"/>
                <a:gd name="T20" fmla="*/ 122 w 538"/>
                <a:gd name="T21" fmla="*/ 184 h 1108"/>
                <a:gd name="T22" fmla="*/ 133 w 538"/>
                <a:gd name="T23" fmla="*/ 140 h 1108"/>
                <a:gd name="T24" fmla="*/ 141 w 538"/>
                <a:gd name="T25" fmla="*/ 119 h 1108"/>
                <a:gd name="T26" fmla="*/ 165 w 538"/>
                <a:gd name="T27" fmla="*/ 82 h 1108"/>
                <a:gd name="T28" fmla="*/ 179 w 538"/>
                <a:gd name="T29" fmla="*/ 66 h 1108"/>
                <a:gd name="T30" fmla="*/ 212 w 538"/>
                <a:gd name="T31" fmla="*/ 39 h 1108"/>
                <a:gd name="T32" fmla="*/ 250 w 538"/>
                <a:gd name="T33" fmla="*/ 18 h 1108"/>
                <a:gd name="T34" fmla="*/ 272 w 538"/>
                <a:gd name="T35" fmla="*/ 10 h 1108"/>
                <a:gd name="T36" fmla="*/ 319 w 538"/>
                <a:gd name="T37" fmla="*/ 1 h 1108"/>
                <a:gd name="T38" fmla="*/ 344 w 538"/>
                <a:gd name="T39" fmla="*/ 0 h 1108"/>
                <a:gd name="T40" fmla="*/ 396 w 538"/>
                <a:gd name="T41" fmla="*/ 3 h 1108"/>
                <a:gd name="T42" fmla="*/ 445 w 538"/>
                <a:gd name="T43" fmla="*/ 9 h 1108"/>
                <a:gd name="T44" fmla="*/ 492 w 538"/>
                <a:gd name="T45" fmla="*/ 19 h 1108"/>
                <a:gd name="T46" fmla="*/ 538 w 538"/>
                <a:gd name="T47" fmla="*/ 34 h 1108"/>
                <a:gd name="T48" fmla="*/ 538 w 538"/>
                <a:gd name="T49" fmla="*/ 50 h 1108"/>
                <a:gd name="T50" fmla="*/ 533 w 538"/>
                <a:gd name="T51" fmla="*/ 79 h 1108"/>
                <a:gd name="T52" fmla="*/ 524 w 538"/>
                <a:gd name="T53" fmla="*/ 106 h 1108"/>
                <a:gd name="T54" fmla="*/ 511 w 538"/>
                <a:gd name="T55" fmla="*/ 129 h 1108"/>
                <a:gd name="T56" fmla="*/ 502 w 538"/>
                <a:gd name="T57" fmla="*/ 139 h 1108"/>
                <a:gd name="T58" fmla="*/ 438 w 538"/>
                <a:gd name="T59" fmla="*/ 122 h 1108"/>
                <a:gd name="T60" fmla="*/ 408 w 538"/>
                <a:gd name="T61" fmla="*/ 118 h 1108"/>
                <a:gd name="T62" fmla="*/ 381 w 538"/>
                <a:gd name="T63" fmla="*/ 116 h 1108"/>
                <a:gd name="T64" fmla="*/ 353 w 538"/>
                <a:gd name="T65" fmla="*/ 119 h 1108"/>
                <a:gd name="T66" fmla="*/ 328 w 538"/>
                <a:gd name="T67" fmla="*/ 125 h 1108"/>
                <a:gd name="T68" fmla="*/ 307 w 538"/>
                <a:gd name="T69" fmla="*/ 135 h 1108"/>
                <a:gd name="T70" fmla="*/ 291 w 538"/>
                <a:gd name="T71" fmla="*/ 150 h 1108"/>
                <a:gd name="T72" fmla="*/ 285 w 538"/>
                <a:gd name="T73" fmla="*/ 158 h 1108"/>
                <a:gd name="T74" fmla="*/ 274 w 538"/>
                <a:gd name="T75" fmla="*/ 179 h 1108"/>
                <a:gd name="T76" fmla="*/ 267 w 538"/>
                <a:gd name="T77" fmla="*/ 205 h 1108"/>
                <a:gd name="T78" fmla="*/ 264 w 538"/>
                <a:gd name="T79" fmla="*/ 235 h 1108"/>
                <a:gd name="T80" fmla="*/ 262 w 538"/>
                <a:gd name="T81" fmla="*/ 251 h 1108"/>
                <a:gd name="T82" fmla="*/ 266 w 538"/>
                <a:gd name="T83" fmla="*/ 304 h 1108"/>
                <a:gd name="T84" fmla="*/ 274 w 538"/>
                <a:gd name="T85" fmla="*/ 367 h 1108"/>
                <a:gd name="T86" fmla="*/ 483 w 538"/>
                <a:gd name="T87" fmla="*/ 365 h 1108"/>
                <a:gd name="T88" fmla="*/ 488 w 538"/>
                <a:gd name="T89" fmla="*/ 390 h 1108"/>
                <a:gd name="T90" fmla="*/ 490 w 538"/>
                <a:gd name="T91" fmla="*/ 405 h 1108"/>
                <a:gd name="T92" fmla="*/ 491 w 538"/>
                <a:gd name="T93" fmla="*/ 423 h 1108"/>
                <a:gd name="T94" fmla="*/ 488 w 538"/>
                <a:gd name="T95" fmla="*/ 452 h 1108"/>
                <a:gd name="T96" fmla="*/ 486 w 538"/>
                <a:gd name="T97" fmla="*/ 466 h 1108"/>
                <a:gd name="T98" fmla="*/ 285 w 538"/>
                <a:gd name="T99" fmla="*/ 476 h 1108"/>
                <a:gd name="T100" fmla="*/ 285 w 538"/>
                <a:gd name="T101" fmla="*/ 1102 h 1108"/>
                <a:gd name="T102" fmla="*/ 249 w 538"/>
                <a:gd name="T103" fmla="*/ 1107 h 1108"/>
                <a:gd name="T104" fmla="*/ 229 w 538"/>
                <a:gd name="T105" fmla="*/ 1108 h 1108"/>
                <a:gd name="T106" fmla="*/ 208 w 538"/>
                <a:gd name="T107" fmla="*/ 1108 h 1108"/>
                <a:gd name="T108" fmla="*/ 167 w 538"/>
                <a:gd name="T109" fmla="*/ 1107 h 1108"/>
                <a:gd name="T110" fmla="*/ 150 w 538"/>
                <a:gd name="T111" fmla="*/ 1103 h 1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38" h="1108">
                  <a:moveTo>
                    <a:pt x="134" y="1100"/>
                  </a:moveTo>
                  <a:lnTo>
                    <a:pt x="134" y="476"/>
                  </a:lnTo>
                  <a:lnTo>
                    <a:pt x="7" y="478"/>
                  </a:lnTo>
                  <a:lnTo>
                    <a:pt x="7" y="478"/>
                  </a:lnTo>
                  <a:lnTo>
                    <a:pt x="3" y="466"/>
                  </a:lnTo>
                  <a:lnTo>
                    <a:pt x="2" y="451"/>
                  </a:lnTo>
                  <a:lnTo>
                    <a:pt x="2" y="451"/>
                  </a:lnTo>
                  <a:lnTo>
                    <a:pt x="1" y="436"/>
                  </a:lnTo>
                  <a:lnTo>
                    <a:pt x="0" y="421"/>
                  </a:lnTo>
                  <a:lnTo>
                    <a:pt x="0" y="421"/>
                  </a:lnTo>
                  <a:lnTo>
                    <a:pt x="1" y="404"/>
                  </a:lnTo>
                  <a:lnTo>
                    <a:pt x="1" y="389"/>
                  </a:lnTo>
                  <a:lnTo>
                    <a:pt x="3" y="376"/>
                  </a:lnTo>
                  <a:lnTo>
                    <a:pt x="6" y="363"/>
                  </a:lnTo>
                  <a:lnTo>
                    <a:pt x="127" y="365"/>
                  </a:lnTo>
                  <a:lnTo>
                    <a:pt x="127" y="365"/>
                  </a:lnTo>
                  <a:lnTo>
                    <a:pt x="121" y="287"/>
                  </a:lnTo>
                  <a:lnTo>
                    <a:pt x="118" y="256"/>
                  </a:lnTo>
                  <a:lnTo>
                    <a:pt x="118" y="232"/>
                  </a:lnTo>
                  <a:lnTo>
                    <a:pt x="118" y="232"/>
                  </a:lnTo>
                  <a:lnTo>
                    <a:pt x="119" y="208"/>
                  </a:lnTo>
                  <a:lnTo>
                    <a:pt x="122" y="184"/>
                  </a:lnTo>
                  <a:lnTo>
                    <a:pt x="127" y="161"/>
                  </a:lnTo>
                  <a:lnTo>
                    <a:pt x="133" y="140"/>
                  </a:lnTo>
                  <a:lnTo>
                    <a:pt x="133" y="140"/>
                  </a:lnTo>
                  <a:lnTo>
                    <a:pt x="141" y="119"/>
                  </a:lnTo>
                  <a:lnTo>
                    <a:pt x="153" y="100"/>
                  </a:lnTo>
                  <a:lnTo>
                    <a:pt x="165" y="82"/>
                  </a:lnTo>
                  <a:lnTo>
                    <a:pt x="179" y="66"/>
                  </a:lnTo>
                  <a:lnTo>
                    <a:pt x="179" y="66"/>
                  </a:lnTo>
                  <a:lnTo>
                    <a:pt x="195" y="51"/>
                  </a:lnTo>
                  <a:lnTo>
                    <a:pt x="212" y="39"/>
                  </a:lnTo>
                  <a:lnTo>
                    <a:pt x="230" y="27"/>
                  </a:lnTo>
                  <a:lnTo>
                    <a:pt x="250" y="18"/>
                  </a:lnTo>
                  <a:lnTo>
                    <a:pt x="250" y="18"/>
                  </a:lnTo>
                  <a:lnTo>
                    <a:pt x="272" y="10"/>
                  </a:lnTo>
                  <a:lnTo>
                    <a:pt x="295" y="4"/>
                  </a:lnTo>
                  <a:lnTo>
                    <a:pt x="319" y="1"/>
                  </a:lnTo>
                  <a:lnTo>
                    <a:pt x="344" y="0"/>
                  </a:lnTo>
                  <a:lnTo>
                    <a:pt x="344" y="0"/>
                  </a:lnTo>
                  <a:lnTo>
                    <a:pt x="370" y="0"/>
                  </a:lnTo>
                  <a:lnTo>
                    <a:pt x="396" y="3"/>
                  </a:lnTo>
                  <a:lnTo>
                    <a:pt x="420" y="5"/>
                  </a:lnTo>
                  <a:lnTo>
                    <a:pt x="445" y="9"/>
                  </a:lnTo>
                  <a:lnTo>
                    <a:pt x="469" y="14"/>
                  </a:lnTo>
                  <a:lnTo>
                    <a:pt x="492" y="19"/>
                  </a:lnTo>
                  <a:lnTo>
                    <a:pt x="515" y="26"/>
                  </a:lnTo>
                  <a:lnTo>
                    <a:pt x="538" y="34"/>
                  </a:lnTo>
                  <a:lnTo>
                    <a:pt x="538" y="34"/>
                  </a:lnTo>
                  <a:lnTo>
                    <a:pt x="538" y="50"/>
                  </a:lnTo>
                  <a:lnTo>
                    <a:pt x="535" y="66"/>
                  </a:lnTo>
                  <a:lnTo>
                    <a:pt x="533" y="79"/>
                  </a:lnTo>
                  <a:lnTo>
                    <a:pt x="529" y="93"/>
                  </a:lnTo>
                  <a:lnTo>
                    <a:pt x="524" y="106"/>
                  </a:lnTo>
                  <a:lnTo>
                    <a:pt x="518" y="118"/>
                  </a:lnTo>
                  <a:lnTo>
                    <a:pt x="511" y="129"/>
                  </a:lnTo>
                  <a:lnTo>
                    <a:pt x="502" y="139"/>
                  </a:lnTo>
                  <a:lnTo>
                    <a:pt x="502" y="139"/>
                  </a:lnTo>
                  <a:lnTo>
                    <a:pt x="469" y="129"/>
                  </a:lnTo>
                  <a:lnTo>
                    <a:pt x="438" y="122"/>
                  </a:lnTo>
                  <a:lnTo>
                    <a:pt x="438" y="122"/>
                  </a:lnTo>
                  <a:lnTo>
                    <a:pt x="408" y="118"/>
                  </a:lnTo>
                  <a:lnTo>
                    <a:pt x="381" y="116"/>
                  </a:lnTo>
                  <a:lnTo>
                    <a:pt x="381" y="116"/>
                  </a:lnTo>
                  <a:lnTo>
                    <a:pt x="366" y="116"/>
                  </a:lnTo>
                  <a:lnTo>
                    <a:pt x="353" y="119"/>
                  </a:lnTo>
                  <a:lnTo>
                    <a:pt x="339" y="121"/>
                  </a:lnTo>
                  <a:lnTo>
                    <a:pt x="328" y="125"/>
                  </a:lnTo>
                  <a:lnTo>
                    <a:pt x="317" y="130"/>
                  </a:lnTo>
                  <a:lnTo>
                    <a:pt x="307" y="135"/>
                  </a:lnTo>
                  <a:lnTo>
                    <a:pt x="298" y="142"/>
                  </a:lnTo>
                  <a:lnTo>
                    <a:pt x="291" y="150"/>
                  </a:lnTo>
                  <a:lnTo>
                    <a:pt x="291" y="150"/>
                  </a:lnTo>
                  <a:lnTo>
                    <a:pt x="285" y="158"/>
                  </a:lnTo>
                  <a:lnTo>
                    <a:pt x="278" y="169"/>
                  </a:lnTo>
                  <a:lnTo>
                    <a:pt x="274" y="179"/>
                  </a:lnTo>
                  <a:lnTo>
                    <a:pt x="270" y="192"/>
                  </a:lnTo>
                  <a:lnTo>
                    <a:pt x="267" y="205"/>
                  </a:lnTo>
                  <a:lnTo>
                    <a:pt x="265" y="219"/>
                  </a:lnTo>
                  <a:lnTo>
                    <a:pt x="264" y="235"/>
                  </a:lnTo>
                  <a:lnTo>
                    <a:pt x="262" y="251"/>
                  </a:lnTo>
                  <a:lnTo>
                    <a:pt x="262" y="251"/>
                  </a:lnTo>
                  <a:lnTo>
                    <a:pt x="264" y="277"/>
                  </a:lnTo>
                  <a:lnTo>
                    <a:pt x="266" y="304"/>
                  </a:lnTo>
                  <a:lnTo>
                    <a:pt x="266" y="304"/>
                  </a:lnTo>
                  <a:lnTo>
                    <a:pt x="274" y="367"/>
                  </a:lnTo>
                  <a:lnTo>
                    <a:pt x="483" y="365"/>
                  </a:lnTo>
                  <a:lnTo>
                    <a:pt x="483" y="365"/>
                  </a:lnTo>
                  <a:lnTo>
                    <a:pt x="486" y="377"/>
                  </a:lnTo>
                  <a:lnTo>
                    <a:pt x="488" y="390"/>
                  </a:lnTo>
                  <a:lnTo>
                    <a:pt x="488" y="390"/>
                  </a:lnTo>
                  <a:lnTo>
                    <a:pt x="490" y="405"/>
                  </a:lnTo>
                  <a:lnTo>
                    <a:pt x="491" y="423"/>
                  </a:lnTo>
                  <a:lnTo>
                    <a:pt x="491" y="423"/>
                  </a:lnTo>
                  <a:lnTo>
                    <a:pt x="490" y="437"/>
                  </a:lnTo>
                  <a:lnTo>
                    <a:pt x="488" y="452"/>
                  </a:lnTo>
                  <a:lnTo>
                    <a:pt x="488" y="452"/>
                  </a:lnTo>
                  <a:lnTo>
                    <a:pt x="486" y="466"/>
                  </a:lnTo>
                  <a:lnTo>
                    <a:pt x="483" y="479"/>
                  </a:lnTo>
                  <a:lnTo>
                    <a:pt x="285" y="476"/>
                  </a:lnTo>
                  <a:lnTo>
                    <a:pt x="285" y="1102"/>
                  </a:lnTo>
                  <a:lnTo>
                    <a:pt x="285" y="1102"/>
                  </a:lnTo>
                  <a:lnTo>
                    <a:pt x="267" y="1104"/>
                  </a:lnTo>
                  <a:lnTo>
                    <a:pt x="249" y="1107"/>
                  </a:lnTo>
                  <a:lnTo>
                    <a:pt x="249" y="1107"/>
                  </a:lnTo>
                  <a:lnTo>
                    <a:pt x="229" y="1108"/>
                  </a:lnTo>
                  <a:lnTo>
                    <a:pt x="208" y="1108"/>
                  </a:lnTo>
                  <a:lnTo>
                    <a:pt x="208" y="1108"/>
                  </a:lnTo>
                  <a:lnTo>
                    <a:pt x="187" y="1108"/>
                  </a:lnTo>
                  <a:lnTo>
                    <a:pt x="167" y="1107"/>
                  </a:lnTo>
                  <a:lnTo>
                    <a:pt x="167" y="1107"/>
                  </a:lnTo>
                  <a:lnTo>
                    <a:pt x="150" y="1103"/>
                  </a:lnTo>
                  <a:lnTo>
                    <a:pt x="134" y="11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dirty="0"/>
            </a:p>
          </p:txBody>
        </p:sp>
        <p:sp>
          <p:nvSpPr>
            <p:cNvPr id="10" name="Freeform 200"/>
            <p:cNvSpPr>
              <a:spLocks noEditPoints="1"/>
            </p:cNvSpPr>
            <p:nvPr/>
          </p:nvSpPr>
          <p:spPr bwMode="auto">
            <a:xfrm>
              <a:off x="2135089" y="3868086"/>
              <a:ext cx="586323" cy="703587"/>
            </a:xfrm>
            <a:custGeom>
              <a:avLst/>
              <a:gdLst>
                <a:gd name="T0" fmla="*/ 286 w 645"/>
                <a:gd name="T1" fmla="*/ 121 h 774"/>
                <a:gd name="T2" fmla="*/ 225 w 645"/>
                <a:gd name="T3" fmla="*/ 154 h 774"/>
                <a:gd name="T4" fmla="*/ 184 w 645"/>
                <a:gd name="T5" fmla="*/ 222 h 774"/>
                <a:gd name="T6" fmla="*/ 165 w 645"/>
                <a:gd name="T7" fmla="*/ 322 h 774"/>
                <a:gd name="T8" fmla="*/ 162 w 645"/>
                <a:gd name="T9" fmla="*/ 419 h 774"/>
                <a:gd name="T10" fmla="*/ 177 w 645"/>
                <a:gd name="T11" fmla="*/ 528 h 774"/>
                <a:gd name="T12" fmla="*/ 213 w 645"/>
                <a:gd name="T13" fmla="*/ 604 h 774"/>
                <a:gd name="T14" fmla="*/ 268 w 645"/>
                <a:gd name="T15" fmla="*/ 646 h 774"/>
                <a:gd name="T16" fmla="*/ 323 w 645"/>
                <a:gd name="T17" fmla="*/ 654 h 774"/>
                <a:gd name="T18" fmla="*/ 394 w 645"/>
                <a:gd name="T19" fmla="*/ 638 h 774"/>
                <a:gd name="T20" fmla="*/ 445 w 645"/>
                <a:gd name="T21" fmla="*/ 588 h 774"/>
                <a:gd name="T22" fmla="*/ 476 w 645"/>
                <a:gd name="T23" fmla="*/ 504 h 774"/>
                <a:gd name="T24" fmla="*/ 486 w 645"/>
                <a:gd name="T25" fmla="*/ 385 h 774"/>
                <a:gd name="T26" fmla="*/ 481 w 645"/>
                <a:gd name="T27" fmla="*/ 294 h 774"/>
                <a:gd name="T28" fmla="*/ 455 w 645"/>
                <a:gd name="T29" fmla="*/ 202 h 774"/>
                <a:gd name="T30" fmla="*/ 409 w 645"/>
                <a:gd name="T31" fmla="*/ 143 h 774"/>
                <a:gd name="T32" fmla="*/ 342 w 645"/>
                <a:gd name="T33" fmla="*/ 117 h 774"/>
                <a:gd name="T34" fmla="*/ 527 w 645"/>
                <a:gd name="T35" fmla="*/ 701 h 774"/>
                <a:gd name="T36" fmla="*/ 482 w 645"/>
                <a:gd name="T37" fmla="*/ 735 h 774"/>
                <a:gd name="T38" fmla="*/ 415 w 645"/>
                <a:gd name="T39" fmla="*/ 762 h 774"/>
                <a:gd name="T40" fmla="*/ 323 w 645"/>
                <a:gd name="T41" fmla="*/ 774 h 774"/>
                <a:gd name="T42" fmla="*/ 249 w 645"/>
                <a:gd name="T43" fmla="*/ 767 h 774"/>
                <a:gd name="T44" fmla="*/ 184 w 645"/>
                <a:gd name="T45" fmla="*/ 747 h 774"/>
                <a:gd name="T46" fmla="*/ 142 w 645"/>
                <a:gd name="T47" fmla="*/ 722 h 774"/>
                <a:gd name="T48" fmla="*/ 94 w 645"/>
                <a:gd name="T49" fmla="*/ 680 h 774"/>
                <a:gd name="T50" fmla="*/ 65 w 645"/>
                <a:gd name="T51" fmla="*/ 641 h 774"/>
                <a:gd name="T52" fmla="*/ 34 w 645"/>
                <a:gd name="T53" fmla="*/ 579 h 774"/>
                <a:gd name="T54" fmla="*/ 17 w 645"/>
                <a:gd name="T55" fmla="*/ 527 h 774"/>
                <a:gd name="T56" fmla="*/ 2 w 645"/>
                <a:gd name="T57" fmla="*/ 430 h 774"/>
                <a:gd name="T58" fmla="*/ 5 w 645"/>
                <a:gd name="T59" fmla="*/ 304 h 774"/>
                <a:gd name="T60" fmla="*/ 21 w 645"/>
                <a:gd name="T61" fmla="*/ 228 h 774"/>
                <a:gd name="T62" fmla="*/ 47 w 645"/>
                <a:gd name="T63" fmla="*/ 162 h 774"/>
                <a:gd name="T64" fmla="*/ 84 w 645"/>
                <a:gd name="T65" fmla="*/ 106 h 774"/>
                <a:gd name="T66" fmla="*/ 118 w 645"/>
                <a:gd name="T67" fmla="*/ 70 h 774"/>
                <a:gd name="T68" fmla="*/ 170 w 645"/>
                <a:gd name="T69" fmla="*/ 33 h 774"/>
                <a:gd name="T70" fmla="*/ 215 w 645"/>
                <a:gd name="T71" fmla="*/ 15 h 774"/>
                <a:gd name="T72" fmla="*/ 284 w 645"/>
                <a:gd name="T73" fmla="*/ 1 h 774"/>
                <a:gd name="T74" fmla="*/ 341 w 645"/>
                <a:gd name="T75" fmla="*/ 0 h 774"/>
                <a:gd name="T76" fmla="*/ 411 w 645"/>
                <a:gd name="T77" fmla="*/ 10 h 774"/>
                <a:gd name="T78" fmla="*/ 460 w 645"/>
                <a:gd name="T79" fmla="*/ 27 h 774"/>
                <a:gd name="T80" fmla="*/ 514 w 645"/>
                <a:gd name="T81" fmla="*/ 60 h 774"/>
                <a:gd name="T82" fmla="*/ 560 w 645"/>
                <a:gd name="T83" fmla="*/ 106 h 774"/>
                <a:gd name="T84" fmla="*/ 588 w 645"/>
                <a:gd name="T85" fmla="*/ 147 h 774"/>
                <a:gd name="T86" fmla="*/ 618 w 645"/>
                <a:gd name="T87" fmla="*/ 211 h 774"/>
                <a:gd name="T88" fmla="*/ 632 w 645"/>
                <a:gd name="T89" fmla="*/ 265 h 774"/>
                <a:gd name="T90" fmla="*/ 645 w 645"/>
                <a:gd name="T91" fmla="*/ 386 h 774"/>
                <a:gd name="T92" fmla="*/ 641 w 645"/>
                <a:gd name="T93" fmla="*/ 458 h 774"/>
                <a:gd name="T94" fmla="*/ 624 w 645"/>
                <a:gd name="T95" fmla="*/ 543 h 774"/>
                <a:gd name="T96" fmla="*/ 594 w 645"/>
                <a:gd name="T97" fmla="*/ 616 h 774"/>
                <a:gd name="T98" fmla="*/ 551 w 645"/>
                <a:gd name="T99" fmla="*/ 678 h 7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645" h="774">
                  <a:moveTo>
                    <a:pt x="323" y="116"/>
                  </a:moveTo>
                  <a:lnTo>
                    <a:pt x="323" y="116"/>
                  </a:lnTo>
                  <a:lnTo>
                    <a:pt x="304" y="117"/>
                  </a:lnTo>
                  <a:lnTo>
                    <a:pt x="286" y="121"/>
                  </a:lnTo>
                  <a:lnTo>
                    <a:pt x="268" y="126"/>
                  </a:lnTo>
                  <a:lnTo>
                    <a:pt x="252" y="133"/>
                  </a:lnTo>
                  <a:lnTo>
                    <a:pt x="237" y="143"/>
                  </a:lnTo>
                  <a:lnTo>
                    <a:pt x="225" y="154"/>
                  </a:lnTo>
                  <a:lnTo>
                    <a:pt x="213" y="168"/>
                  </a:lnTo>
                  <a:lnTo>
                    <a:pt x="202" y="184"/>
                  </a:lnTo>
                  <a:lnTo>
                    <a:pt x="193" y="202"/>
                  </a:lnTo>
                  <a:lnTo>
                    <a:pt x="184" y="222"/>
                  </a:lnTo>
                  <a:lnTo>
                    <a:pt x="177" y="244"/>
                  </a:lnTo>
                  <a:lnTo>
                    <a:pt x="172" y="268"/>
                  </a:lnTo>
                  <a:lnTo>
                    <a:pt x="167" y="294"/>
                  </a:lnTo>
                  <a:lnTo>
                    <a:pt x="165" y="322"/>
                  </a:lnTo>
                  <a:lnTo>
                    <a:pt x="162" y="353"/>
                  </a:lnTo>
                  <a:lnTo>
                    <a:pt x="161" y="385"/>
                  </a:lnTo>
                  <a:lnTo>
                    <a:pt x="161" y="385"/>
                  </a:lnTo>
                  <a:lnTo>
                    <a:pt x="162" y="419"/>
                  </a:lnTo>
                  <a:lnTo>
                    <a:pt x="165" y="449"/>
                  </a:lnTo>
                  <a:lnTo>
                    <a:pt x="167" y="478"/>
                  </a:lnTo>
                  <a:lnTo>
                    <a:pt x="172" y="504"/>
                  </a:lnTo>
                  <a:lnTo>
                    <a:pt x="177" y="528"/>
                  </a:lnTo>
                  <a:lnTo>
                    <a:pt x="184" y="549"/>
                  </a:lnTo>
                  <a:lnTo>
                    <a:pt x="193" y="570"/>
                  </a:lnTo>
                  <a:lnTo>
                    <a:pt x="202" y="588"/>
                  </a:lnTo>
                  <a:lnTo>
                    <a:pt x="213" y="604"/>
                  </a:lnTo>
                  <a:lnTo>
                    <a:pt x="225" y="617"/>
                  </a:lnTo>
                  <a:lnTo>
                    <a:pt x="237" y="628"/>
                  </a:lnTo>
                  <a:lnTo>
                    <a:pt x="252" y="638"/>
                  </a:lnTo>
                  <a:lnTo>
                    <a:pt x="268" y="646"/>
                  </a:lnTo>
                  <a:lnTo>
                    <a:pt x="286" y="651"/>
                  </a:lnTo>
                  <a:lnTo>
                    <a:pt x="304" y="653"/>
                  </a:lnTo>
                  <a:lnTo>
                    <a:pt x="323" y="654"/>
                  </a:lnTo>
                  <a:lnTo>
                    <a:pt x="323" y="654"/>
                  </a:lnTo>
                  <a:lnTo>
                    <a:pt x="342" y="653"/>
                  </a:lnTo>
                  <a:lnTo>
                    <a:pt x="361" y="651"/>
                  </a:lnTo>
                  <a:lnTo>
                    <a:pt x="378" y="646"/>
                  </a:lnTo>
                  <a:lnTo>
                    <a:pt x="394" y="638"/>
                  </a:lnTo>
                  <a:lnTo>
                    <a:pt x="409" y="628"/>
                  </a:lnTo>
                  <a:lnTo>
                    <a:pt x="423" y="617"/>
                  </a:lnTo>
                  <a:lnTo>
                    <a:pt x="434" y="603"/>
                  </a:lnTo>
                  <a:lnTo>
                    <a:pt x="445" y="588"/>
                  </a:lnTo>
                  <a:lnTo>
                    <a:pt x="455" y="569"/>
                  </a:lnTo>
                  <a:lnTo>
                    <a:pt x="463" y="549"/>
                  </a:lnTo>
                  <a:lnTo>
                    <a:pt x="469" y="527"/>
                  </a:lnTo>
                  <a:lnTo>
                    <a:pt x="476" y="504"/>
                  </a:lnTo>
                  <a:lnTo>
                    <a:pt x="479" y="477"/>
                  </a:lnTo>
                  <a:lnTo>
                    <a:pt x="483" y="448"/>
                  </a:lnTo>
                  <a:lnTo>
                    <a:pt x="486" y="419"/>
                  </a:lnTo>
                  <a:lnTo>
                    <a:pt x="486" y="385"/>
                  </a:lnTo>
                  <a:lnTo>
                    <a:pt x="486" y="385"/>
                  </a:lnTo>
                  <a:lnTo>
                    <a:pt x="486" y="353"/>
                  </a:lnTo>
                  <a:lnTo>
                    <a:pt x="483" y="322"/>
                  </a:lnTo>
                  <a:lnTo>
                    <a:pt x="481" y="294"/>
                  </a:lnTo>
                  <a:lnTo>
                    <a:pt x="476" y="268"/>
                  </a:lnTo>
                  <a:lnTo>
                    <a:pt x="471" y="244"/>
                  </a:lnTo>
                  <a:lnTo>
                    <a:pt x="463" y="222"/>
                  </a:lnTo>
                  <a:lnTo>
                    <a:pt x="455" y="202"/>
                  </a:lnTo>
                  <a:lnTo>
                    <a:pt x="445" y="184"/>
                  </a:lnTo>
                  <a:lnTo>
                    <a:pt x="435" y="168"/>
                  </a:lnTo>
                  <a:lnTo>
                    <a:pt x="423" y="154"/>
                  </a:lnTo>
                  <a:lnTo>
                    <a:pt x="409" y="143"/>
                  </a:lnTo>
                  <a:lnTo>
                    <a:pt x="394" y="133"/>
                  </a:lnTo>
                  <a:lnTo>
                    <a:pt x="378" y="126"/>
                  </a:lnTo>
                  <a:lnTo>
                    <a:pt x="361" y="121"/>
                  </a:lnTo>
                  <a:lnTo>
                    <a:pt x="342" y="117"/>
                  </a:lnTo>
                  <a:lnTo>
                    <a:pt x="323" y="116"/>
                  </a:lnTo>
                  <a:close/>
                  <a:moveTo>
                    <a:pt x="537" y="691"/>
                  </a:moveTo>
                  <a:lnTo>
                    <a:pt x="537" y="691"/>
                  </a:lnTo>
                  <a:lnTo>
                    <a:pt x="527" y="701"/>
                  </a:lnTo>
                  <a:lnTo>
                    <a:pt x="516" y="711"/>
                  </a:lnTo>
                  <a:lnTo>
                    <a:pt x="505" y="719"/>
                  </a:lnTo>
                  <a:lnTo>
                    <a:pt x="494" y="727"/>
                  </a:lnTo>
                  <a:lnTo>
                    <a:pt x="482" y="735"/>
                  </a:lnTo>
                  <a:lnTo>
                    <a:pt x="469" y="741"/>
                  </a:lnTo>
                  <a:lnTo>
                    <a:pt x="456" y="747"/>
                  </a:lnTo>
                  <a:lnTo>
                    <a:pt x="444" y="753"/>
                  </a:lnTo>
                  <a:lnTo>
                    <a:pt x="415" y="762"/>
                  </a:lnTo>
                  <a:lnTo>
                    <a:pt x="386" y="768"/>
                  </a:lnTo>
                  <a:lnTo>
                    <a:pt x="355" y="773"/>
                  </a:lnTo>
                  <a:lnTo>
                    <a:pt x="323" y="774"/>
                  </a:lnTo>
                  <a:lnTo>
                    <a:pt x="323" y="774"/>
                  </a:lnTo>
                  <a:lnTo>
                    <a:pt x="303" y="773"/>
                  </a:lnTo>
                  <a:lnTo>
                    <a:pt x="284" y="772"/>
                  </a:lnTo>
                  <a:lnTo>
                    <a:pt x="267" y="769"/>
                  </a:lnTo>
                  <a:lnTo>
                    <a:pt x="249" y="767"/>
                  </a:lnTo>
                  <a:lnTo>
                    <a:pt x="233" y="763"/>
                  </a:lnTo>
                  <a:lnTo>
                    <a:pt x="215" y="758"/>
                  </a:lnTo>
                  <a:lnTo>
                    <a:pt x="200" y="753"/>
                  </a:lnTo>
                  <a:lnTo>
                    <a:pt x="184" y="747"/>
                  </a:lnTo>
                  <a:lnTo>
                    <a:pt x="184" y="747"/>
                  </a:lnTo>
                  <a:lnTo>
                    <a:pt x="170" y="740"/>
                  </a:lnTo>
                  <a:lnTo>
                    <a:pt x="156" y="731"/>
                  </a:lnTo>
                  <a:lnTo>
                    <a:pt x="142" y="722"/>
                  </a:lnTo>
                  <a:lnTo>
                    <a:pt x="130" y="714"/>
                  </a:lnTo>
                  <a:lnTo>
                    <a:pt x="118" y="703"/>
                  </a:lnTo>
                  <a:lnTo>
                    <a:pt x="105" y="691"/>
                  </a:lnTo>
                  <a:lnTo>
                    <a:pt x="94" y="680"/>
                  </a:lnTo>
                  <a:lnTo>
                    <a:pt x="84" y="667"/>
                  </a:lnTo>
                  <a:lnTo>
                    <a:pt x="84" y="667"/>
                  </a:lnTo>
                  <a:lnTo>
                    <a:pt x="75" y="654"/>
                  </a:lnTo>
                  <a:lnTo>
                    <a:pt x="65" y="641"/>
                  </a:lnTo>
                  <a:lnTo>
                    <a:pt x="56" y="626"/>
                  </a:lnTo>
                  <a:lnTo>
                    <a:pt x="47" y="611"/>
                  </a:lnTo>
                  <a:lnTo>
                    <a:pt x="40" y="596"/>
                  </a:lnTo>
                  <a:lnTo>
                    <a:pt x="34" y="579"/>
                  </a:lnTo>
                  <a:lnTo>
                    <a:pt x="26" y="563"/>
                  </a:lnTo>
                  <a:lnTo>
                    <a:pt x="21" y="546"/>
                  </a:lnTo>
                  <a:lnTo>
                    <a:pt x="21" y="546"/>
                  </a:lnTo>
                  <a:lnTo>
                    <a:pt x="17" y="527"/>
                  </a:lnTo>
                  <a:lnTo>
                    <a:pt x="12" y="509"/>
                  </a:lnTo>
                  <a:lnTo>
                    <a:pt x="8" y="490"/>
                  </a:lnTo>
                  <a:lnTo>
                    <a:pt x="5" y="470"/>
                  </a:lnTo>
                  <a:lnTo>
                    <a:pt x="2" y="430"/>
                  </a:lnTo>
                  <a:lnTo>
                    <a:pt x="0" y="386"/>
                  </a:lnTo>
                  <a:lnTo>
                    <a:pt x="0" y="386"/>
                  </a:lnTo>
                  <a:lnTo>
                    <a:pt x="2" y="344"/>
                  </a:lnTo>
                  <a:lnTo>
                    <a:pt x="5" y="304"/>
                  </a:lnTo>
                  <a:lnTo>
                    <a:pt x="8" y="284"/>
                  </a:lnTo>
                  <a:lnTo>
                    <a:pt x="12" y="265"/>
                  </a:lnTo>
                  <a:lnTo>
                    <a:pt x="17" y="247"/>
                  </a:lnTo>
                  <a:lnTo>
                    <a:pt x="21" y="228"/>
                  </a:lnTo>
                  <a:lnTo>
                    <a:pt x="21" y="228"/>
                  </a:lnTo>
                  <a:lnTo>
                    <a:pt x="34" y="194"/>
                  </a:lnTo>
                  <a:lnTo>
                    <a:pt x="40" y="178"/>
                  </a:lnTo>
                  <a:lnTo>
                    <a:pt x="47" y="162"/>
                  </a:lnTo>
                  <a:lnTo>
                    <a:pt x="56" y="147"/>
                  </a:lnTo>
                  <a:lnTo>
                    <a:pt x="65" y="133"/>
                  </a:lnTo>
                  <a:lnTo>
                    <a:pt x="75" y="119"/>
                  </a:lnTo>
                  <a:lnTo>
                    <a:pt x="84" y="106"/>
                  </a:lnTo>
                  <a:lnTo>
                    <a:pt x="84" y="106"/>
                  </a:lnTo>
                  <a:lnTo>
                    <a:pt x="94" y="94"/>
                  </a:lnTo>
                  <a:lnTo>
                    <a:pt x="105" y="81"/>
                  </a:lnTo>
                  <a:lnTo>
                    <a:pt x="118" y="70"/>
                  </a:lnTo>
                  <a:lnTo>
                    <a:pt x="130" y="60"/>
                  </a:lnTo>
                  <a:lnTo>
                    <a:pt x="142" y="51"/>
                  </a:lnTo>
                  <a:lnTo>
                    <a:pt x="156" y="42"/>
                  </a:lnTo>
                  <a:lnTo>
                    <a:pt x="170" y="33"/>
                  </a:lnTo>
                  <a:lnTo>
                    <a:pt x="184" y="27"/>
                  </a:lnTo>
                  <a:lnTo>
                    <a:pt x="184" y="27"/>
                  </a:lnTo>
                  <a:lnTo>
                    <a:pt x="200" y="20"/>
                  </a:lnTo>
                  <a:lnTo>
                    <a:pt x="215" y="15"/>
                  </a:lnTo>
                  <a:lnTo>
                    <a:pt x="231" y="10"/>
                  </a:lnTo>
                  <a:lnTo>
                    <a:pt x="249" y="6"/>
                  </a:lnTo>
                  <a:lnTo>
                    <a:pt x="266" y="4"/>
                  </a:lnTo>
                  <a:lnTo>
                    <a:pt x="284" y="1"/>
                  </a:lnTo>
                  <a:lnTo>
                    <a:pt x="303" y="0"/>
                  </a:lnTo>
                  <a:lnTo>
                    <a:pt x="323" y="0"/>
                  </a:lnTo>
                  <a:lnTo>
                    <a:pt x="323" y="0"/>
                  </a:lnTo>
                  <a:lnTo>
                    <a:pt x="341" y="0"/>
                  </a:lnTo>
                  <a:lnTo>
                    <a:pt x="360" y="1"/>
                  </a:lnTo>
                  <a:lnTo>
                    <a:pt x="377" y="4"/>
                  </a:lnTo>
                  <a:lnTo>
                    <a:pt x="394" y="6"/>
                  </a:lnTo>
                  <a:lnTo>
                    <a:pt x="411" y="10"/>
                  </a:lnTo>
                  <a:lnTo>
                    <a:pt x="428" y="15"/>
                  </a:lnTo>
                  <a:lnTo>
                    <a:pt x="444" y="21"/>
                  </a:lnTo>
                  <a:lnTo>
                    <a:pt x="460" y="27"/>
                  </a:lnTo>
                  <a:lnTo>
                    <a:pt x="460" y="27"/>
                  </a:lnTo>
                  <a:lnTo>
                    <a:pt x="474" y="33"/>
                  </a:lnTo>
                  <a:lnTo>
                    <a:pt x="488" y="42"/>
                  </a:lnTo>
                  <a:lnTo>
                    <a:pt x="502" y="51"/>
                  </a:lnTo>
                  <a:lnTo>
                    <a:pt x="514" y="60"/>
                  </a:lnTo>
                  <a:lnTo>
                    <a:pt x="526" y="70"/>
                  </a:lnTo>
                  <a:lnTo>
                    <a:pt x="539" y="81"/>
                  </a:lnTo>
                  <a:lnTo>
                    <a:pt x="550" y="94"/>
                  </a:lnTo>
                  <a:lnTo>
                    <a:pt x="560" y="106"/>
                  </a:lnTo>
                  <a:lnTo>
                    <a:pt x="560" y="106"/>
                  </a:lnTo>
                  <a:lnTo>
                    <a:pt x="569" y="119"/>
                  </a:lnTo>
                  <a:lnTo>
                    <a:pt x="579" y="133"/>
                  </a:lnTo>
                  <a:lnTo>
                    <a:pt x="588" y="147"/>
                  </a:lnTo>
                  <a:lnTo>
                    <a:pt x="597" y="162"/>
                  </a:lnTo>
                  <a:lnTo>
                    <a:pt x="604" y="178"/>
                  </a:lnTo>
                  <a:lnTo>
                    <a:pt x="611" y="194"/>
                  </a:lnTo>
                  <a:lnTo>
                    <a:pt x="618" y="211"/>
                  </a:lnTo>
                  <a:lnTo>
                    <a:pt x="623" y="228"/>
                  </a:lnTo>
                  <a:lnTo>
                    <a:pt x="623" y="228"/>
                  </a:lnTo>
                  <a:lnTo>
                    <a:pt x="627" y="247"/>
                  </a:lnTo>
                  <a:lnTo>
                    <a:pt x="632" y="265"/>
                  </a:lnTo>
                  <a:lnTo>
                    <a:pt x="636" y="284"/>
                  </a:lnTo>
                  <a:lnTo>
                    <a:pt x="639" y="304"/>
                  </a:lnTo>
                  <a:lnTo>
                    <a:pt x="644" y="344"/>
                  </a:lnTo>
                  <a:lnTo>
                    <a:pt x="645" y="386"/>
                  </a:lnTo>
                  <a:lnTo>
                    <a:pt x="645" y="386"/>
                  </a:lnTo>
                  <a:lnTo>
                    <a:pt x="644" y="411"/>
                  </a:lnTo>
                  <a:lnTo>
                    <a:pt x="642" y="435"/>
                  </a:lnTo>
                  <a:lnTo>
                    <a:pt x="641" y="458"/>
                  </a:lnTo>
                  <a:lnTo>
                    <a:pt x="637" y="480"/>
                  </a:lnTo>
                  <a:lnTo>
                    <a:pt x="634" y="501"/>
                  </a:lnTo>
                  <a:lnTo>
                    <a:pt x="629" y="522"/>
                  </a:lnTo>
                  <a:lnTo>
                    <a:pt x="624" y="543"/>
                  </a:lnTo>
                  <a:lnTo>
                    <a:pt x="618" y="562"/>
                  </a:lnTo>
                  <a:lnTo>
                    <a:pt x="610" y="582"/>
                  </a:lnTo>
                  <a:lnTo>
                    <a:pt x="603" y="599"/>
                  </a:lnTo>
                  <a:lnTo>
                    <a:pt x="594" y="616"/>
                  </a:lnTo>
                  <a:lnTo>
                    <a:pt x="584" y="632"/>
                  </a:lnTo>
                  <a:lnTo>
                    <a:pt x="574" y="648"/>
                  </a:lnTo>
                  <a:lnTo>
                    <a:pt x="562" y="663"/>
                  </a:lnTo>
                  <a:lnTo>
                    <a:pt x="551" y="678"/>
                  </a:lnTo>
                  <a:lnTo>
                    <a:pt x="537" y="6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dirty="0"/>
            </a:p>
          </p:txBody>
        </p:sp>
        <p:sp>
          <p:nvSpPr>
            <p:cNvPr id="11" name="Freeform 203"/>
            <p:cNvSpPr>
              <a:spLocks noEditPoints="1"/>
            </p:cNvSpPr>
            <p:nvPr/>
          </p:nvSpPr>
          <p:spPr bwMode="auto">
            <a:xfrm>
              <a:off x="2875945" y="3868086"/>
              <a:ext cx="551780" cy="989930"/>
            </a:xfrm>
            <a:custGeom>
              <a:avLst/>
              <a:gdLst>
                <a:gd name="T0" fmla="*/ 302 w 607"/>
                <a:gd name="T1" fmla="*/ 130 h 1089"/>
                <a:gd name="T2" fmla="*/ 268 w 607"/>
                <a:gd name="T3" fmla="*/ 136 h 1089"/>
                <a:gd name="T4" fmla="*/ 236 w 607"/>
                <a:gd name="T5" fmla="*/ 148 h 1089"/>
                <a:gd name="T6" fmla="*/ 205 w 607"/>
                <a:gd name="T7" fmla="*/ 167 h 1089"/>
                <a:gd name="T8" fmla="*/ 152 w 607"/>
                <a:gd name="T9" fmla="*/ 226 h 1089"/>
                <a:gd name="T10" fmla="*/ 170 w 607"/>
                <a:gd name="T11" fmla="*/ 604 h 1089"/>
                <a:gd name="T12" fmla="*/ 227 w 607"/>
                <a:gd name="T13" fmla="*/ 631 h 1089"/>
                <a:gd name="T14" fmla="*/ 263 w 607"/>
                <a:gd name="T15" fmla="*/ 642 h 1089"/>
                <a:gd name="T16" fmla="*/ 296 w 607"/>
                <a:gd name="T17" fmla="*/ 646 h 1089"/>
                <a:gd name="T18" fmla="*/ 344 w 607"/>
                <a:gd name="T19" fmla="*/ 636 h 1089"/>
                <a:gd name="T20" fmla="*/ 386 w 607"/>
                <a:gd name="T21" fmla="*/ 607 h 1089"/>
                <a:gd name="T22" fmla="*/ 409 w 607"/>
                <a:gd name="T23" fmla="*/ 578 h 1089"/>
                <a:gd name="T24" fmla="*/ 434 w 607"/>
                <a:gd name="T25" fmla="*/ 517 h 1089"/>
                <a:gd name="T26" fmla="*/ 448 w 607"/>
                <a:gd name="T27" fmla="*/ 442 h 1089"/>
                <a:gd name="T28" fmla="*/ 452 w 607"/>
                <a:gd name="T29" fmla="*/ 382 h 1089"/>
                <a:gd name="T30" fmla="*/ 446 w 607"/>
                <a:gd name="T31" fmla="*/ 294 h 1089"/>
                <a:gd name="T32" fmla="*/ 430 w 607"/>
                <a:gd name="T33" fmla="*/ 226 h 1089"/>
                <a:gd name="T34" fmla="*/ 412 w 607"/>
                <a:gd name="T35" fmla="*/ 190 h 1089"/>
                <a:gd name="T36" fmla="*/ 380 w 607"/>
                <a:gd name="T37" fmla="*/ 153 h 1089"/>
                <a:gd name="T38" fmla="*/ 343 w 607"/>
                <a:gd name="T39" fmla="*/ 133 h 1089"/>
                <a:gd name="T40" fmla="*/ 321 w 607"/>
                <a:gd name="T41" fmla="*/ 768 h 1089"/>
                <a:gd name="T42" fmla="*/ 279 w 607"/>
                <a:gd name="T43" fmla="*/ 764 h 1089"/>
                <a:gd name="T44" fmla="*/ 216 w 607"/>
                <a:gd name="T45" fmla="*/ 748 h 1089"/>
                <a:gd name="T46" fmla="*/ 152 w 607"/>
                <a:gd name="T47" fmla="*/ 719 h 1089"/>
                <a:gd name="T48" fmla="*/ 151 w 607"/>
                <a:gd name="T49" fmla="*/ 1015 h 1089"/>
                <a:gd name="T50" fmla="*/ 141 w 607"/>
                <a:gd name="T51" fmla="*/ 1053 h 1089"/>
                <a:gd name="T52" fmla="*/ 133 w 607"/>
                <a:gd name="T53" fmla="*/ 1066 h 1089"/>
                <a:gd name="T54" fmla="*/ 115 w 607"/>
                <a:gd name="T55" fmla="*/ 1080 h 1089"/>
                <a:gd name="T56" fmla="*/ 90 w 607"/>
                <a:gd name="T57" fmla="*/ 1088 h 1089"/>
                <a:gd name="T58" fmla="*/ 9 w 607"/>
                <a:gd name="T59" fmla="*/ 1089 h 1089"/>
                <a:gd name="T60" fmla="*/ 9 w 607"/>
                <a:gd name="T61" fmla="*/ 14 h 1089"/>
                <a:gd name="T62" fmla="*/ 73 w 607"/>
                <a:gd name="T63" fmla="*/ 15 h 1089"/>
                <a:gd name="T64" fmla="*/ 110 w 607"/>
                <a:gd name="T65" fmla="*/ 27 h 1089"/>
                <a:gd name="T66" fmla="*/ 135 w 607"/>
                <a:gd name="T67" fmla="*/ 56 h 1089"/>
                <a:gd name="T68" fmla="*/ 147 w 607"/>
                <a:gd name="T69" fmla="*/ 89 h 1089"/>
                <a:gd name="T70" fmla="*/ 216 w 607"/>
                <a:gd name="T71" fmla="*/ 35 h 1089"/>
                <a:gd name="T72" fmla="*/ 254 w 607"/>
                <a:gd name="T73" fmla="*/ 17 h 1089"/>
                <a:gd name="T74" fmla="*/ 323 w 607"/>
                <a:gd name="T75" fmla="*/ 1 h 1089"/>
                <a:gd name="T76" fmla="*/ 368 w 607"/>
                <a:gd name="T77" fmla="*/ 0 h 1089"/>
                <a:gd name="T78" fmla="*/ 410 w 607"/>
                <a:gd name="T79" fmla="*/ 6 h 1089"/>
                <a:gd name="T80" fmla="*/ 449 w 607"/>
                <a:gd name="T81" fmla="*/ 20 h 1089"/>
                <a:gd name="T82" fmla="*/ 473 w 607"/>
                <a:gd name="T83" fmla="*/ 33 h 1089"/>
                <a:gd name="T84" fmla="*/ 505 w 607"/>
                <a:gd name="T85" fmla="*/ 59 h 1089"/>
                <a:gd name="T86" fmla="*/ 532 w 607"/>
                <a:gd name="T87" fmla="*/ 91 h 1089"/>
                <a:gd name="T88" fmla="*/ 555 w 607"/>
                <a:gd name="T89" fmla="*/ 131 h 1089"/>
                <a:gd name="T90" fmla="*/ 590 w 607"/>
                <a:gd name="T91" fmla="*/ 225 h 1089"/>
                <a:gd name="T92" fmla="*/ 602 w 607"/>
                <a:gd name="T93" fmla="*/ 300 h 1089"/>
                <a:gd name="T94" fmla="*/ 607 w 607"/>
                <a:gd name="T95" fmla="*/ 385 h 1089"/>
                <a:gd name="T96" fmla="*/ 601 w 607"/>
                <a:gd name="T97" fmla="*/ 469 h 1089"/>
                <a:gd name="T98" fmla="*/ 590 w 607"/>
                <a:gd name="T99" fmla="*/ 527 h 1089"/>
                <a:gd name="T100" fmla="*/ 579 w 607"/>
                <a:gd name="T101" fmla="*/ 563 h 1089"/>
                <a:gd name="T102" fmla="*/ 558 w 607"/>
                <a:gd name="T103" fmla="*/ 611 h 1089"/>
                <a:gd name="T104" fmla="*/ 532 w 607"/>
                <a:gd name="T105" fmla="*/ 653 h 1089"/>
                <a:gd name="T106" fmla="*/ 512 w 607"/>
                <a:gd name="T107" fmla="*/ 678 h 1089"/>
                <a:gd name="T108" fmla="*/ 480 w 607"/>
                <a:gd name="T109" fmla="*/ 710 h 1089"/>
                <a:gd name="T110" fmla="*/ 444 w 607"/>
                <a:gd name="T111" fmla="*/ 735 h 1089"/>
                <a:gd name="T112" fmla="*/ 417 w 607"/>
                <a:gd name="T113" fmla="*/ 748 h 1089"/>
                <a:gd name="T114" fmla="*/ 378 w 607"/>
                <a:gd name="T115" fmla="*/ 762 h 1089"/>
                <a:gd name="T116" fmla="*/ 335 w 607"/>
                <a:gd name="T117" fmla="*/ 768 h 10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07" h="1089">
                  <a:moveTo>
                    <a:pt x="315" y="130"/>
                  </a:moveTo>
                  <a:lnTo>
                    <a:pt x="315" y="130"/>
                  </a:lnTo>
                  <a:lnTo>
                    <a:pt x="302" y="130"/>
                  </a:lnTo>
                  <a:lnTo>
                    <a:pt x="291" y="131"/>
                  </a:lnTo>
                  <a:lnTo>
                    <a:pt x="279" y="132"/>
                  </a:lnTo>
                  <a:lnTo>
                    <a:pt x="268" y="136"/>
                  </a:lnTo>
                  <a:lnTo>
                    <a:pt x="257" y="138"/>
                  </a:lnTo>
                  <a:lnTo>
                    <a:pt x="247" y="143"/>
                  </a:lnTo>
                  <a:lnTo>
                    <a:pt x="236" y="148"/>
                  </a:lnTo>
                  <a:lnTo>
                    <a:pt x="226" y="153"/>
                  </a:lnTo>
                  <a:lnTo>
                    <a:pt x="215" y="159"/>
                  </a:lnTo>
                  <a:lnTo>
                    <a:pt x="205" y="167"/>
                  </a:lnTo>
                  <a:lnTo>
                    <a:pt x="186" y="184"/>
                  </a:lnTo>
                  <a:lnTo>
                    <a:pt x="168" y="204"/>
                  </a:lnTo>
                  <a:lnTo>
                    <a:pt x="152" y="226"/>
                  </a:lnTo>
                  <a:lnTo>
                    <a:pt x="152" y="591"/>
                  </a:lnTo>
                  <a:lnTo>
                    <a:pt x="152" y="591"/>
                  </a:lnTo>
                  <a:lnTo>
                    <a:pt x="170" y="604"/>
                  </a:lnTo>
                  <a:lnTo>
                    <a:pt x="190" y="614"/>
                  </a:lnTo>
                  <a:lnTo>
                    <a:pt x="209" y="624"/>
                  </a:lnTo>
                  <a:lnTo>
                    <a:pt x="227" y="631"/>
                  </a:lnTo>
                  <a:lnTo>
                    <a:pt x="227" y="631"/>
                  </a:lnTo>
                  <a:lnTo>
                    <a:pt x="244" y="638"/>
                  </a:lnTo>
                  <a:lnTo>
                    <a:pt x="263" y="642"/>
                  </a:lnTo>
                  <a:lnTo>
                    <a:pt x="279" y="645"/>
                  </a:lnTo>
                  <a:lnTo>
                    <a:pt x="296" y="646"/>
                  </a:lnTo>
                  <a:lnTo>
                    <a:pt x="296" y="646"/>
                  </a:lnTo>
                  <a:lnTo>
                    <a:pt x="314" y="645"/>
                  </a:lnTo>
                  <a:lnTo>
                    <a:pt x="330" y="642"/>
                  </a:lnTo>
                  <a:lnTo>
                    <a:pt x="344" y="636"/>
                  </a:lnTo>
                  <a:lnTo>
                    <a:pt x="359" y="628"/>
                  </a:lnTo>
                  <a:lnTo>
                    <a:pt x="373" y="619"/>
                  </a:lnTo>
                  <a:lnTo>
                    <a:pt x="386" y="607"/>
                  </a:lnTo>
                  <a:lnTo>
                    <a:pt x="397" y="594"/>
                  </a:lnTo>
                  <a:lnTo>
                    <a:pt x="409" y="578"/>
                  </a:lnTo>
                  <a:lnTo>
                    <a:pt x="409" y="578"/>
                  </a:lnTo>
                  <a:lnTo>
                    <a:pt x="418" y="559"/>
                  </a:lnTo>
                  <a:lnTo>
                    <a:pt x="427" y="540"/>
                  </a:lnTo>
                  <a:lnTo>
                    <a:pt x="434" y="517"/>
                  </a:lnTo>
                  <a:lnTo>
                    <a:pt x="441" y="494"/>
                  </a:lnTo>
                  <a:lnTo>
                    <a:pt x="446" y="469"/>
                  </a:lnTo>
                  <a:lnTo>
                    <a:pt x="448" y="442"/>
                  </a:lnTo>
                  <a:lnTo>
                    <a:pt x="451" y="412"/>
                  </a:lnTo>
                  <a:lnTo>
                    <a:pt x="452" y="382"/>
                  </a:lnTo>
                  <a:lnTo>
                    <a:pt x="452" y="382"/>
                  </a:lnTo>
                  <a:lnTo>
                    <a:pt x="451" y="351"/>
                  </a:lnTo>
                  <a:lnTo>
                    <a:pt x="449" y="321"/>
                  </a:lnTo>
                  <a:lnTo>
                    <a:pt x="446" y="294"/>
                  </a:lnTo>
                  <a:lnTo>
                    <a:pt x="442" y="269"/>
                  </a:lnTo>
                  <a:lnTo>
                    <a:pt x="436" y="247"/>
                  </a:lnTo>
                  <a:lnTo>
                    <a:pt x="430" y="226"/>
                  </a:lnTo>
                  <a:lnTo>
                    <a:pt x="422" y="207"/>
                  </a:lnTo>
                  <a:lnTo>
                    <a:pt x="412" y="190"/>
                  </a:lnTo>
                  <a:lnTo>
                    <a:pt x="412" y="190"/>
                  </a:lnTo>
                  <a:lnTo>
                    <a:pt x="402" y="175"/>
                  </a:lnTo>
                  <a:lnTo>
                    <a:pt x="391" y="163"/>
                  </a:lnTo>
                  <a:lnTo>
                    <a:pt x="380" y="153"/>
                  </a:lnTo>
                  <a:lnTo>
                    <a:pt x="368" y="144"/>
                  </a:lnTo>
                  <a:lnTo>
                    <a:pt x="356" y="138"/>
                  </a:lnTo>
                  <a:lnTo>
                    <a:pt x="343" y="133"/>
                  </a:lnTo>
                  <a:lnTo>
                    <a:pt x="330" y="130"/>
                  </a:lnTo>
                  <a:lnTo>
                    <a:pt x="315" y="130"/>
                  </a:lnTo>
                  <a:close/>
                  <a:moveTo>
                    <a:pt x="321" y="768"/>
                  </a:moveTo>
                  <a:lnTo>
                    <a:pt x="321" y="768"/>
                  </a:lnTo>
                  <a:lnTo>
                    <a:pt x="300" y="767"/>
                  </a:lnTo>
                  <a:lnTo>
                    <a:pt x="279" y="764"/>
                  </a:lnTo>
                  <a:lnTo>
                    <a:pt x="258" y="761"/>
                  </a:lnTo>
                  <a:lnTo>
                    <a:pt x="237" y="756"/>
                  </a:lnTo>
                  <a:lnTo>
                    <a:pt x="216" y="748"/>
                  </a:lnTo>
                  <a:lnTo>
                    <a:pt x="194" y="740"/>
                  </a:lnTo>
                  <a:lnTo>
                    <a:pt x="173" y="730"/>
                  </a:lnTo>
                  <a:lnTo>
                    <a:pt x="152" y="719"/>
                  </a:lnTo>
                  <a:lnTo>
                    <a:pt x="152" y="990"/>
                  </a:lnTo>
                  <a:lnTo>
                    <a:pt x="152" y="990"/>
                  </a:lnTo>
                  <a:lnTo>
                    <a:pt x="151" y="1015"/>
                  </a:lnTo>
                  <a:lnTo>
                    <a:pt x="147" y="1036"/>
                  </a:lnTo>
                  <a:lnTo>
                    <a:pt x="144" y="1045"/>
                  </a:lnTo>
                  <a:lnTo>
                    <a:pt x="141" y="1053"/>
                  </a:lnTo>
                  <a:lnTo>
                    <a:pt x="137" y="1059"/>
                  </a:lnTo>
                  <a:lnTo>
                    <a:pt x="133" y="1066"/>
                  </a:lnTo>
                  <a:lnTo>
                    <a:pt x="133" y="1066"/>
                  </a:lnTo>
                  <a:lnTo>
                    <a:pt x="128" y="1072"/>
                  </a:lnTo>
                  <a:lnTo>
                    <a:pt x="122" y="1077"/>
                  </a:lnTo>
                  <a:lnTo>
                    <a:pt x="115" y="1080"/>
                  </a:lnTo>
                  <a:lnTo>
                    <a:pt x="107" y="1083"/>
                  </a:lnTo>
                  <a:lnTo>
                    <a:pt x="99" y="1087"/>
                  </a:lnTo>
                  <a:lnTo>
                    <a:pt x="90" y="1088"/>
                  </a:lnTo>
                  <a:lnTo>
                    <a:pt x="79" y="1089"/>
                  </a:lnTo>
                  <a:lnTo>
                    <a:pt x="68" y="1089"/>
                  </a:lnTo>
                  <a:lnTo>
                    <a:pt x="9" y="1089"/>
                  </a:lnTo>
                  <a:lnTo>
                    <a:pt x="0" y="1080"/>
                  </a:lnTo>
                  <a:lnTo>
                    <a:pt x="0" y="22"/>
                  </a:lnTo>
                  <a:lnTo>
                    <a:pt x="9" y="14"/>
                  </a:lnTo>
                  <a:lnTo>
                    <a:pt x="56" y="14"/>
                  </a:lnTo>
                  <a:lnTo>
                    <a:pt x="56" y="14"/>
                  </a:lnTo>
                  <a:lnTo>
                    <a:pt x="73" y="15"/>
                  </a:lnTo>
                  <a:lnTo>
                    <a:pt x="89" y="17"/>
                  </a:lnTo>
                  <a:lnTo>
                    <a:pt x="104" y="23"/>
                  </a:lnTo>
                  <a:lnTo>
                    <a:pt x="110" y="27"/>
                  </a:lnTo>
                  <a:lnTo>
                    <a:pt x="116" y="32"/>
                  </a:lnTo>
                  <a:lnTo>
                    <a:pt x="126" y="42"/>
                  </a:lnTo>
                  <a:lnTo>
                    <a:pt x="135" y="56"/>
                  </a:lnTo>
                  <a:lnTo>
                    <a:pt x="142" y="70"/>
                  </a:lnTo>
                  <a:lnTo>
                    <a:pt x="147" y="89"/>
                  </a:lnTo>
                  <a:lnTo>
                    <a:pt x="147" y="89"/>
                  </a:lnTo>
                  <a:lnTo>
                    <a:pt x="168" y="68"/>
                  </a:lnTo>
                  <a:lnTo>
                    <a:pt x="191" y="49"/>
                  </a:lnTo>
                  <a:lnTo>
                    <a:pt x="216" y="35"/>
                  </a:lnTo>
                  <a:lnTo>
                    <a:pt x="228" y="28"/>
                  </a:lnTo>
                  <a:lnTo>
                    <a:pt x="241" y="22"/>
                  </a:lnTo>
                  <a:lnTo>
                    <a:pt x="254" y="17"/>
                  </a:lnTo>
                  <a:lnTo>
                    <a:pt x="268" y="12"/>
                  </a:lnTo>
                  <a:lnTo>
                    <a:pt x="295" y="5"/>
                  </a:lnTo>
                  <a:lnTo>
                    <a:pt x="323" y="1"/>
                  </a:lnTo>
                  <a:lnTo>
                    <a:pt x="353" y="0"/>
                  </a:lnTo>
                  <a:lnTo>
                    <a:pt x="353" y="0"/>
                  </a:lnTo>
                  <a:lnTo>
                    <a:pt x="368" y="0"/>
                  </a:lnTo>
                  <a:lnTo>
                    <a:pt x="383" y="1"/>
                  </a:lnTo>
                  <a:lnTo>
                    <a:pt x="396" y="4"/>
                  </a:lnTo>
                  <a:lnTo>
                    <a:pt x="410" y="6"/>
                  </a:lnTo>
                  <a:lnTo>
                    <a:pt x="423" y="10"/>
                  </a:lnTo>
                  <a:lnTo>
                    <a:pt x="436" y="15"/>
                  </a:lnTo>
                  <a:lnTo>
                    <a:pt x="449" y="20"/>
                  </a:lnTo>
                  <a:lnTo>
                    <a:pt x="460" y="27"/>
                  </a:lnTo>
                  <a:lnTo>
                    <a:pt x="460" y="27"/>
                  </a:lnTo>
                  <a:lnTo>
                    <a:pt x="473" y="33"/>
                  </a:lnTo>
                  <a:lnTo>
                    <a:pt x="484" y="41"/>
                  </a:lnTo>
                  <a:lnTo>
                    <a:pt x="495" y="49"/>
                  </a:lnTo>
                  <a:lnTo>
                    <a:pt x="505" y="59"/>
                  </a:lnTo>
                  <a:lnTo>
                    <a:pt x="515" y="69"/>
                  </a:lnTo>
                  <a:lnTo>
                    <a:pt x="523" y="80"/>
                  </a:lnTo>
                  <a:lnTo>
                    <a:pt x="532" y="91"/>
                  </a:lnTo>
                  <a:lnTo>
                    <a:pt x="541" y="104"/>
                  </a:lnTo>
                  <a:lnTo>
                    <a:pt x="541" y="104"/>
                  </a:lnTo>
                  <a:lnTo>
                    <a:pt x="555" y="131"/>
                  </a:lnTo>
                  <a:lnTo>
                    <a:pt x="569" y="159"/>
                  </a:lnTo>
                  <a:lnTo>
                    <a:pt x="580" y="191"/>
                  </a:lnTo>
                  <a:lnTo>
                    <a:pt x="590" y="225"/>
                  </a:lnTo>
                  <a:lnTo>
                    <a:pt x="590" y="225"/>
                  </a:lnTo>
                  <a:lnTo>
                    <a:pt x="597" y="262"/>
                  </a:lnTo>
                  <a:lnTo>
                    <a:pt x="602" y="300"/>
                  </a:lnTo>
                  <a:lnTo>
                    <a:pt x="606" y="342"/>
                  </a:lnTo>
                  <a:lnTo>
                    <a:pt x="607" y="385"/>
                  </a:lnTo>
                  <a:lnTo>
                    <a:pt x="607" y="385"/>
                  </a:lnTo>
                  <a:lnTo>
                    <a:pt x="606" y="428"/>
                  </a:lnTo>
                  <a:lnTo>
                    <a:pt x="604" y="449"/>
                  </a:lnTo>
                  <a:lnTo>
                    <a:pt x="601" y="469"/>
                  </a:lnTo>
                  <a:lnTo>
                    <a:pt x="599" y="489"/>
                  </a:lnTo>
                  <a:lnTo>
                    <a:pt x="595" y="509"/>
                  </a:lnTo>
                  <a:lnTo>
                    <a:pt x="590" y="527"/>
                  </a:lnTo>
                  <a:lnTo>
                    <a:pt x="585" y="546"/>
                  </a:lnTo>
                  <a:lnTo>
                    <a:pt x="585" y="546"/>
                  </a:lnTo>
                  <a:lnTo>
                    <a:pt x="579" y="563"/>
                  </a:lnTo>
                  <a:lnTo>
                    <a:pt x="573" y="579"/>
                  </a:lnTo>
                  <a:lnTo>
                    <a:pt x="565" y="596"/>
                  </a:lnTo>
                  <a:lnTo>
                    <a:pt x="558" y="611"/>
                  </a:lnTo>
                  <a:lnTo>
                    <a:pt x="551" y="626"/>
                  </a:lnTo>
                  <a:lnTo>
                    <a:pt x="542" y="641"/>
                  </a:lnTo>
                  <a:lnTo>
                    <a:pt x="532" y="653"/>
                  </a:lnTo>
                  <a:lnTo>
                    <a:pt x="523" y="667"/>
                  </a:lnTo>
                  <a:lnTo>
                    <a:pt x="523" y="667"/>
                  </a:lnTo>
                  <a:lnTo>
                    <a:pt x="512" y="678"/>
                  </a:lnTo>
                  <a:lnTo>
                    <a:pt x="502" y="689"/>
                  </a:lnTo>
                  <a:lnTo>
                    <a:pt x="491" y="700"/>
                  </a:lnTo>
                  <a:lnTo>
                    <a:pt x="480" y="710"/>
                  </a:lnTo>
                  <a:lnTo>
                    <a:pt x="468" y="719"/>
                  </a:lnTo>
                  <a:lnTo>
                    <a:pt x="457" y="727"/>
                  </a:lnTo>
                  <a:lnTo>
                    <a:pt x="444" y="735"/>
                  </a:lnTo>
                  <a:lnTo>
                    <a:pt x="431" y="742"/>
                  </a:lnTo>
                  <a:lnTo>
                    <a:pt x="431" y="742"/>
                  </a:lnTo>
                  <a:lnTo>
                    <a:pt x="417" y="748"/>
                  </a:lnTo>
                  <a:lnTo>
                    <a:pt x="405" y="753"/>
                  </a:lnTo>
                  <a:lnTo>
                    <a:pt x="391" y="758"/>
                  </a:lnTo>
                  <a:lnTo>
                    <a:pt x="378" y="762"/>
                  </a:lnTo>
                  <a:lnTo>
                    <a:pt x="363" y="764"/>
                  </a:lnTo>
                  <a:lnTo>
                    <a:pt x="349" y="767"/>
                  </a:lnTo>
                  <a:lnTo>
                    <a:pt x="335" y="768"/>
                  </a:lnTo>
                  <a:lnTo>
                    <a:pt x="321" y="7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dirty="0"/>
            </a:p>
          </p:txBody>
        </p:sp>
        <p:sp>
          <p:nvSpPr>
            <p:cNvPr id="12" name="Freeform 206"/>
            <p:cNvSpPr>
              <a:spLocks/>
            </p:cNvSpPr>
            <p:nvPr/>
          </p:nvSpPr>
          <p:spPr bwMode="auto">
            <a:xfrm>
              <a:off x="3564079" y="3876267"/>
              <a:ext cx="594503" cy="689951"/>
            </a:xfrm>
            <a:custGeom>
              <a:avLst/>
              <a:gdLst>
                <a:gd name="T0" fmla="*/ 26 w 654"/>
                <a:gd name="T1" fmla="*/ 168 h 759"/>
                <a:gd name="T2" fmla="*/ 22 w 654"/>
                <a:gd name="T3" fmla="*/ 107 h 759"/>
                <a:gd name="T4" fmla="*/ 11 w 654"/>
                <a:gd name="T5" fmla="*/ 59 h 759"/>
                <a:gd name="T6" fmla="*/ 0 w 654"/>
                <a:gd name="T7" fmla="*/ 33 h 759"/>
                <a:gd name="T8" fmla="*/ 32 w 654"/>
                <a:gd name="T9" fmla="*/ 13 h 759"/>
                <a:gd name="T10" fmla="*/ 69 w 654"/>
                <a:gd name="T11" fmla="*/ 2 h 759"/>
                <a:gd name="T12" fmla="*/ 97 w 654"/>
                <a:gd name="T13" fmla="*/ 0 h 759"/>
                <a:gd name="T14" fmla="*/ 124 w 654"/>
                <a:gd name="T15" fmla="*/ 3 h 759"/>
                <a:gd name="T16" fmla="*/ 146 w 654"/>
                <a:gd name="T17" fmla="*/ 13 h 759"/>
                <a:gd name="T18" fmla="*/ 163 w 654"/>
                <a:gd name="T19" fmla="*/ 30 h 759"/>
                <a:gd name="T20" fmla="*/ 174 w 654"/>
                <a:gd name="T21" fmla="*/ 54 h 759"/>
                <a:gd name="T22" fmla="*/ 179 w 654"/>
                <a:gd name="T23" fmla="*/ 97 h 759"/>
                <a:gd name="T24" fmla="*/ 180 w 654"/>
                <a:gd name="T25" fmla="*/ 511 h 759"/>
                <a:gd name="T26" fmla="*/ 186 w 654"/>
                <a:gd name="T27" fmla="*/ 554 h 759"/>
                <a:gd name="T28" fmla="*/ 198 w 654"/>
                <a:gd name="T29" fmla="*/ 586 h 759"/>
                <a:gd name="T30" fmla="*/ 209 w 654"/>
                <a:gd name="T31" fmla="*/ 600 h 759"/>
                <a:gd name="T32" fmla="*/ 234 w 654"/>
                <a:gd name="T33" fmla="*/ 613 h 759"/>
                <a:gd name="T34" fmla="*/ 267 w 654"/>
                <a:gd name="T35" fmla="*/ 618 h 759"/>
                <a:gd name="T36" fmla="*/ 304 w 654"/>
                <a:gd name="T37" fmla="*/ 616 h 759"/>
                <a:gd name="T38" fmla="*/ 366 w 654"/>
                <a:gd name="T39" fmla="*/ 595 h 759"/>
                <a:gd name="T40" fmla="*/ 414 w 654"/>
                <a:gd name="T41" fmla="*/ 565 h 759"/>
                <a:gd name="T42" fmla="*/ 458 w 654"/>
                <a:gd name="T43" fmla="*/ 10 h 759"/>
                <a:gd name="T44" fmla="*/ 533 w 654"/>
                <a:gd name="T45" fmla="*/ 5 h 759"/>
                <a:gd name="T46" fmla="*/ 612 w 654"/>
                <a:gd name="T47" fmla="*/ 10 h 759"/>
                <a:gd name="T48" fmla="*/ 613 w 654"/>
                <a:gd name="T49" fmla="*/ 563 h 759"/>
                <a:gd name="T50" fmla="*/ 623 w 654"/>
                <a:gd name="T51" fmla="*/ 624 h 759"/>
                <a:gd name="T52" fmla="*/ 644 w 654"/>
                <a:gd name="T53" fmla="*/ 668 h 759"/>
                <a:gd name="T54" fmla="*/ 650 w 654"/>
                <a:gd name="T55" fmla="*/ 691 h 759"/>
                <a:gd name="T56" fmla="*/ 632 w 654"/>
                <a:gd name="T57" fmla="*/ 724 h 759"/>
                <a:gd name="T58" fmla="*/ 606 w 654"/>
                <a:gd name="T59" fmla="*/ 750 h 759"/>
                <a:gd name="T60" fmla="*/ 574 w 654"/>
                <a:gd name="T61" fmla="*/ 750 h 759"/>
                <a:gd name="T62" fmla="*/ 534 w 654"/>
                <a:gd name="T63" fmla="*/ 733 h 759"/>
                <a:gd name="T64" fmla="*/ 509 w 654"/>
                <a:gd name="T65" fmla="*/ 715 h 759"/>
                <a:gd name="T66" fmla="*/ 491 w 654"/>
                <a:gd name="T67" fmla="*/ 690 h 759"/>
                <a:gd name="T68" fmla="*/ 471 w 654"/>
                <a:gd name="T69" fmla="*/ 649 h 759"/>
                <a:gd name="T70" fmla="*/ 412 w 654"/>
                <a:gd name="T71" fmla="*/ 697 h 759"/>
                <a:gd name="T72" fmla="*/ 366 w 654"/>
                <a:gd name="T73" fmla="*/ 724 h 759"/>
                <a:gd name="T74" fmla="*/ 319 w 654"/>
                <a:gd name="T75" fmla="*/ 743 h 759"/>
                <a:gd name="T76" fmla="*/ 271 w 654"/>
                <a:gd name="T77" fmla="*/ 755 h 759"/>
                <a:gd name="T78" fmla="*/ 223 w 654"/>
                <a:gd name="T79" fmla="*/ 759 h 759"/>
                <a:gd name="T80" fmla="*/ 176 w 654"/>
                <a:gd name="T81" fmla="*/ 755 h 759"/>
                <a:gd name="T82" fmla="*/ 119 w 654"/>
                <a:gd name="T83" fmla="*/ 733 h 759"/>
                <a:gd name="T84" fmla="*/ 75 w 654"/>
                <a:gd name="T85" fmla="*/ 692 h 759"/>
                <a:gd name="T86" fmla="*/ 53 w 654"/>
                <a:gd name="T87" fmla="*/ 655 h 759"/>
                <a:gd name="T88" fmla="*/ 32 w 654"/>
                <a:gd name="T89" fmla="*/ 591 h 759"/>
                <a:gd name="T90" fmla="*/ 26 w 654"/>
                <a:gd name="T91" fmla="*/ 515 h 7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654" h="759">
                  <a:moveTo>
                    <a:pt x="26" y="515"/>
                  </a:moveTo>
                  <a:lnTo>
                    <a:pt x="26" y="168"/>
                  </a:lnTo>
                  <a:lnTo>
                    <a:pt x="26" y="168"/>
                  </a:lnTo>
                  <a:lnTo>
                    <a:pt x="24" y="145"/>
                  </a:lnTo>
                  <a:lnTo>
                    <a:pt x="23" y="126"/>
                  </a:lnTo>
                  <a:lnTo>
                    <a:pt x="22" y="107"/>
                  </a:lnTo>
                  <a:lnTo>
                    <a:pt x="18" y="89"/>
                  </a:lnTo>
                  <a:lnTo>
                    <a:pt x="16" y="72"/>
                  </a:lnTo>
                  <a:lnTo>
                    <a:pt x="11" y="59"/>
                  </a:lnTo>
                  <a:lnTo>
                    <a:pt x="6" y="45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9" y="26"/>
                  </a:lnTo>
                  <a:lnTo>
                    <a:pt x="21" y="18"/>
                  </a:lnTo>
                  <a:lnTo>
                    <a:pt x="32" y="13"/>
                  </a:lnTo>
                  <a:lnTo>
                    <a:pt x="43" y="8"/>
                  </a:lnTo>
                  <a:lnTo>
                    <a:pt x="55" y="5"/>
                  </a:lnTo>
                  <a:lnTo>
                    <a:pt x="69" y="2"/>
                  </a:lnTo>
                  <a:lnTo>
                    <a:pt x="82" y="1"/>
                  </a:lnTo>
                  <a:lnTo>
                    <a:pt x="97" y="0"/>
                  </a:lnTo>
                  <a:lnTo>
                    <a:pt x="97" y="0"/>
                  </a:lnTo>
                  <a:lnTo>
                    <a:pt x="107" y="1"/>
                  </a:lnTo>
                  <a:lnTo>
                    <a:pt x="116" y="2"/>
                  </a:lnTo>
                  <a:lnTo>
                    <a:pt x="124" y="3"/>
                  </a:lnTo>
                  <a:lnTo>
                    <a:pt x="133" y="6"/>
                  </a:lnTo>
                  <a:lnTo>
                    <a:pt x="140" y="10"/>
                  </a:lnTo>
                  <a:lnTo>
                    <a:pt x="146" y="13"/>
                  </a:lnTo>
                  <a:lnTo>
                    <a:pt x="153" y="18"/>
                  </a:lnTo>
                  <a:lnTo>
                    <a:pt x="158" y="24"/>
                  </a:lnTo>
                  <a:lnTo>
                    <a:pt x="163" y="30"/>
                  </a:lnTo>
                  <a:lnTo>
                    <a:pt x="167" y="38"/>
                  </a:lnTo>
                  <a:lnTo>
                    <a:pt x="171" y="45"/>
                  </a:lnTo>
                  <a:lnTo>
                    <a:pt x="174" y="54"/>
                  </a:lnTo>
                  <a:lnTo>
                    <a:pt x="176" y="64"/>
                  </a:lnTo>
                  <a:lnTo>
                    <a:pt x="177" y="74"/>
                  </a:lnTo>
                  <a:lnTo>
                    <a:pt x="179" y="97"/>
                  </a:lnTo>
                  <a:lnTo>
                    <a:pt x="179" y="475"/>
                  </a:lnTo>
                  <a:lnTo>
                    <a:pt x="179" y="475"/>
                  </a:lnTo>
                  <a:lnTo>
                    <a:pt x="180" y="511"/>
                  </a:lnTo>
                  <a:lnTo>
                    <a:pt x="182" y="527"/>
                  </a:lnTo>
                  <a:lnTo>
                    <a:pt x="184" y="542"/>
                  </a:lnTo>
                  <a:lnTo>
                    <a:pt x="186" y="554"/>
                  </a:lnTo>
                  <a:lnTo>
                    <a:pt x="190" y="566"/>
                  </a:lnTo>
                  <a:lnTo>
                    <a:pt x="193" y="576"/>
                  </a:lnTo>
                  <a:lnTo>
                    <a:pt x="198" y="586"/>
                  </a:lnTo>
                  <a:lnTo>
                    <a:pt x="198" y="586"/>
                  </a:lnTo>
                  <a:lnTo>
                    <a:pt x="203" y="594"/>
                  </a:lnTo>
                  <a:lnTo>
                    <a:pt x="209" y="600"/>
                  </a:lnTo>
                  <a:lnTo>
                    <a:pt x="217" y="606"/>
                  </a:lnTo>
                  <a:lnTo>
                    <a:pt x="225" y="610"/>
                  </a:lnTo>
                  <a:lnTo>
                    <a:pt x="234" y="613"/>
                  </a:lnTo>
                  <a:lnTo>
                    <a:pt x="244" y="617"/>
                  </a:lnTo>
                  <a:lnTo>
                    <a:pt x="255" y="618"/>
                  </a:lnTo>
                  <a:lnTo>
                    <a:pt x="267" y="618"/>
                  </a:lnTo>
                  <a:lnTo>
                    <a:pt x="267" y="618"/>
                  </a:lnTo>
                  <a:lnTo>
                    <a:pt x="292" y="617"/>
                  </a:lnTo>
                  <a:lnTo>
                    <a:pt x="304" y="616"/>
                  </a:lnTo>
                  <a:lnTo>
                    <a:pt x="317" y="613"/>
                  </a:lnTo>
                  <a:lnTo>
                    <a:pt x="341" y="605"/>
                  </a:lnTo>
                  <a:lnTo>
                    <a:pt x="366" y="595"/>
                  </a:lnTo>
                  <a:lnTo>
                    <a:pt x="366" y="595"/>
                  </a:lnTo>
                  <a:lnTo>
                    <a:pt x="391" y="581"/>
                  </a:lnTo>
                  <a:lnTo>
                    <a:pt x="414" y="565"/>
                  </a:lnTo>
                  <a:lnTo>
                    <a:pt x="437" y="548"/>
                  </a:lnTo>
                  <a:lnTo>
                    <a:pt x="458" y="528"/>
                  </a:lnTo>
                  <a:lnTo>
                    <a:pt x="458" y="10"/>
                  </a:lnTo>
                  <a:lnTo>
                    <a:pt x="458" y="10"/>
                  </a:lnTo>
                  <a:lnTo>
                    <a:pt x="497" y="6"/>
                  </a:lnTo>
                  <a:lnTo>
                    <a:pt x="533" y="5"/>
                  </a:lnTo>
                  <a:lnTo>
                    <a:pt x="533" y="5"/>
                  </a:lnTo>
                  <a:lnTo>
                    <a:pt x="570" y="6"/>
                  </a:lnTo>
                  <a:lnTo>
                    <a:pt x="612" y="10"/>
                  </a:lnTo>
                  <a:lnTo>
                    <a:pt x="612" y="537"/>
                  </a:lnTo>
                  <a:lnTo>
                    <a:pt x="612" y="537"/>
                  </a:lnTo>
                  <a:lnTo>
                    <a:pt x="613" y="563"/>
                  </a:lnTo>
                  <a:lnTo>
                    <a:pt x="614" y="585"/>
                  </a:lnTo>
                  <a:lnTo>
                    <a:pt x="618" y="606"/>
                  </a:lnTo>
                  <a:lnTo>
                    <a:pt x="623" y="624"/>
                  </a:lnTo>
                  <a:lnTo>
                    <a:pt x="628" y="642"/>
                  </a:lnTo>
                  <a:lnTo>
                    <a:pt x="635" y="655"/>
                  </a:lnTo>
                  <a:lnTo>
                    <a:pt x="644" y="668"/>
                  </a:lnTo>
                  <a:lnTo>
                    <a:pt x="654" y="679"/>
                  </a:lnTo>
                  <a:lnTo>
                    <a:pt x="654" y="679"/>
                  </a:lnTo>
                  <a:lnTo>
                    <a:pt x="650" y="691"/>
                  </a:lnTo>
                  <a:lnTo>
                    <a:pt x="644" y="703"/>
                  </a:lnTo>
                  <a:lnTo>
                    <a:pt x="638" y="715"/>
                  </a:lnTo>
                  <a:lnTo>
                    <a:pt x="632" y="724"/>
                  </a:lnTo>
                  <a:lnTo>
                    <a:pt x="624" y="734"/>
                  </a:lnTo>
                  <a:lnTo>
                    <a:pt x="615" y="743"/>
                  </a:lnTo>
                  <a:lnTo>
                    <a:pt x="606" y="750"/>
                  </a:lnTo>
                  <a:lnTo>
                    <a:pt x="596" y="757"/>
                  </a:lnTo>
                  <a:lnTo>
                    <a:pt x="596" y="757"/>
                  </a:lnTo>
                  <a:lnTo>
                    <a:pt x="574" y="750"/>
                  </a:lnTo>
                  <a:lnTo>
                    <a:pt x="553" y="743"/>
                  </a:lnTo>
                  <a:lnTo>
                    <a:pt x="543" y="739"/>
                  </a:lnTo>
                  <a:lnTo>
                    <a:pt x="534" y="733"/>
                  </a:lnTo>
                  <a:lnTo>
                    <a:pt x="525" y="728"/>
                  </a:lnTo>
                  <a:lnTo>
                    <a:pt x="518" y="721"/>
                  </a:lnTo>
                  <a:lnTo>
                    <a:pt x="509" y="715"/>
                  </a:lnTo>
                  <a:lnTo>
                    <a:pt x="503" y="707"/>
                  </a:lnTo>
                  <a:lnTo>
                    <a:pt x="496" y="698"/>
                  </a:lnTo>
                  <a:lnTo>
                    <a:pt x="491" y="690"/>
                  </a:lnTo>
                  <a:lnTo>
                    <a:pt x="480" y="670"/>
                  </a:lnTo>
                  <a:lnTo>
                    <a:pt x="471" y="649"/>
                  </a:lnTo>
                  <a:lnTo>
                    <a:pt x="471" y="649"/>
                  </a:lnTo>
                  <a:lnTo>
                    <a:pt x="441" y="675"/>
                  </a:lnTo>
                  <a:lnTo>
                    <a:pt x="427" y="686"/>
                  </a:lnTo>
                  <a:lnTo>
                    <a:pt x="412" y="697"/>
                  </a:lnTo>
                  <a:lnTo>
                    <a:pt x="397" y="707"/>
                  </a:lnTo>
                  <a:lnTo>
                    <a:pt x="381" y="716"/>
                  </a:lnTo>
                  <a:lnTo>
                    <a:pt x="366" y="724"/>
                  </a:lnTo>
                  <a:lnTo>
                    <a:pt x="350" y="732"/>
                  </a:lnTo>
                  <a:lnTo>
                    <a:pt x="335" y="738"/>
                  </a:lnTo>
                  <a:lnTo>
                    <a:pt x="319" y="743"/>
                  </a:lnTo>
                  <a:lnTo>
                    <a:pt x="303" y="748"/>
                  </a:lnTo>
                  <a:lnTo>
                    <a:pt x="287" y="752"/>
                  </a:lnTo>
                  <a:lnTo>
                    <a:pt x="271" y="755"/>
                  </a:lnTo>
                  <a:lnTo>
                    <a:pt x="255" y="758"/>
                  </a:lnTo>
                  <a:lnTo>
                    <a:pt x="239" y="759"/>
                  </a:lnTo>
                  <a:lnTo>
                    <a:pt x="223" y="759"/>
                  </a:lnTo>
                  <a:lnTo>
                    <a:pt x="223" y="759"/>
                  </a:lnTo>
                  <a:lnTo>
                    <a:pt x="198" y="758"/>
                  </a:lnTo>
                  <a:lnTo>
                    <a:pt x="176" y="755"/>
                  </a:lnTo>
                  <a:lnTo>
                    <a:pt x="155" y="749"/>
                  </a:lnTo>
                  <a:lnTo>
                    <a:pt x="137" y="742"/>
                  </a:lnTo>
                  <a:lnTo>
                    <a:pt x="119" y="733"/>
                  </a:lnTo>
                  <a:lnTo>
                    <a:pt x="103" y="722"/>
                  </a:lnTo>
                  <a:lnTo>
                    <a:pt x="88" y="708"/>
                  </a:lnTo>
                  <a:lnTo>
                    <a:pt x="75" y="692"/>
                  </a:lnTo>
                  <a:lnTo>
                    <a:pt x="75" y="692"/>
                  </a:lnTo>
                  <a:lnTo>
                    <a:pt x="64" y="675"/>
                  </a:lnTo>
                  <a:lnTo>
                    <a:pt x="53" y="655"/>
                  </a:lnTo>
                  <a:lnTo>
                    <a:pt x="44" y="636"/>
                  </a:lnTo>
                  <a:lnTo>
                    <a:pt x="38" y="613"/>
                  </a:lnTo>
                  <a:lnTo>
                    <a:pt x="32" y="591"/>
                  </a:lnTo>
                  <a:lnTo>
                    <a:pt x="28" y="566"/>
                  </a:lnTo>
                  <a:lnTo>
                    <a:pt x="26" y="540"/>
                  </a:lnTo>
                  <a:lnTo>
                    <a:pt x="26" y="5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dirty="0"/>
            </a:p>
          </p:txBody>
        </p:sp>
        <p:sp>
          <p:nvSpPr>
            <p:cNvPr id="13" name="Freeform 208"/>
            <p:cNvSpPr>
              <a:spLocks/>
            </p:cNvSpPr>
            <p:nvPr/>
          </p:nvSpPr>
          <p:spPr bwMode="auto">
            <a:xfrm>
              <a:off x="4328570" y="3559017"/>
              <a:ext cx="253619" cy="1000838"/>
            </a:xfrm>
            <a:custGeom>
              <a:avLst/>
              <a:gdLst>
                <a:gd name="T0" fmla="*/ 210 w 279"/>
                <a:gd name="T1" fmla="*/ 978 h 1101"/>
                <a:gd name="T2" fmla="*/ 266 w 279"/>
                <a:gd name="T3" fmla="*/ 978 h 1101"/>
                <a:gd name="T4" fmla="*/ 266 w 279"/>
                <a:gd name="T5" fmla="*/ 978 h 1101"/>
                <a:gd name="T6" fmla="*/ 272 w 279"/>
                <a:gd name="T7" fmla="*/ 997 h 1101"/>
                <a:gd name="T8" fmla="*/ 276 w 279"/>
                <a:gd name="T9" fmla="*/ 1014 h 1101"/>
                <a:gd name="T10" fmla="*/ 278 w 279"/>
                <a:gd name="T11" fmla="*/ 1030 h 1101"/>
                <a:gd name="T12" fmla="*/ 279 w 279"/>
                <a:gd name="T13" fmla="*/ 1045 h 1101"/>
                <a:gd name="T14" fmla="*/ 279 w 279"/>
                <a:gd name="T15" fmla="*/ 1045 h 1101"/>
                <a:gd name="T16" fmla="*/ 279 w 279"/>
                <a:gd name="T17" fmla="*/ 1059 h 1101"/>
                <a:gd name="T18" fmla="*/ 278 w 279"/>
                <a:gd name="T19" fmla="*/ 1071 h 1101"/>
                <a:gd name="T20" fmla="*/ 274 w 279"/>
                <a:gd name="T21" fmla="*/ 1091 h 1101"/>
                <a:gd name="T22" fmla="*/ 274 w 279"/>
                <a:gd name="T23" fmla="*/ 1091 h 1101"/>
                <a:gd name="T24" fmla="*/ 243 w 279"/>
                <a:gd name="T25" fmla="*/ 1096 h 1101"/>
                <a:gd name="T26" fmla="*/ 213 w 279"/>
                <a:gd name="T27" fmla="*/ 1098 h 1101"/>
                <a:gd name="T28" fmla="*/ 181 w 279"/>
                <a:gd name="T29" fmla="*/ 1101 h 1101"/>
                <a:gd name="T30" fmla="*/ 147 w 279"/>
                <a:gd name="T31" fmla="*/ 1101 h 1101"/>
                <a:gd name="T32" fmla="*/ 147 w 279"/>
                <a:gd name="T33" fmla="*/ 1101 h 1101"/>
                <a:gd name="T34" fmla="*/ 130 w 279"/>
                <a:gd name="T35" fmla="*/ 1101 h 1101"/>
                <a:gd name="T36" fmla="*/ 113 w 279"/>
                <a:gd name="T37" fmla="*/ 1099 h 1101"/>
                <a:gd name="T38" fmla="*/ 98 w 279"/>
                <a:gd name="T39" fmla="*/ 1096 h 1101"/>
                <a:gd name="T40" fmla="*/ 83 w 279"/>
                <a:gd name="T41" fmla="*/ 1092 h 1101"/>
                <a:gd name="T42" fmla="*/ 71 w 279"/>
                <a:gd name="T43" fmla="*/ 1086 h 1101"/>
                <a:gd name="T44" fmla="*/ 58 w 279"/>
                <a:gd name="T45" fmla="*/ 1080 h 1101"/>
                <a:gd name="T46" fmla="*/ 47 w 279"/>
                <a:gd name="T47" fmla="*/ 1072 h 1101"/>
                <a:gd name="T48" fmla="*/ 37 w 279"/>
                <a:gd name="T49" fmla="*/ 1062 h 1101"/>
                <a:gd name="T50" fmla="*/ 29 w 279"/>
                <a:gd name="T51" fmla="*/ 1052 h 1101"/>
                <a:gd name="T52" fmla="*/ 21 w 279"/>
                <a:gd name="T53" fmla="*/ 1041 h 1101"/>
                <a:gd name="T54" fmla="*/ 15 w 279"/>
                <a:gd name="T55" fmla="*/ 1029 h 1101"/>
                <a:gd name="T56" fmla="*/ 10 w 279"/>
                <a:gd name="T57" fmla="*/ 1014 h 1101"/>
                <a:gd name="T58" fmla="*/ 5 w 279"/>
                <a:gd name="T59" fmla="*/ 999 h 1101"/>
                <a:gd name="T60" fmla="*/ 3 w 279"/>
                <a:gd name="T61" fmla="*/ 983 h 1101"/>
                <a:gd name="T62" fmla="*/ 2 w 279"/>
                <a:gd name="T63" fmla="*/ 966 h 1101"/>
                <a:gd name="T64" fmla="*/ 0 w 279"/>
                <a:gd name="T65" fmla="*/ 947 h 1101"/>
                <a:gd name="T66" fmla="*/ 0 w 279"/>
                <a:gd name="T67" fmla="*/ 9 h 1101"/>
                <a:gd name="T68" fmla="*/ 11 w 279"/>
                <a:gd name="T69" fmla="*/ 0 h 1101"/>
                <a:gd name="T70" fmla="*/ 69 w 279"/>
                <a:gd name="T71" fmla="*/ 0 h 1101"/>
                <a:gd name="T72" fmla="*/ 69 w 279"/>
                <a:gd name="T73" fmla="*/ 0 h 1101"/>
                <a:gd name="T74" fmla="*/ 81 w 279"/>
                <a:gd name="T75" fmla="*/ 0 h 1101"/>
                <a:gd name="T76" fmla="*/ 90 w 279"/>
                <a:gd name="T77" fmla="*/ 2 h 1101"/>
                <a:gd name="T78" fmla="*/ 100 w 279"/>
                <a:gd name="T79" fmla="*/ 3 h 1101"/>
                <a:gd name="T80" fmla="*/ 109 w 279"/>
                <a:gd name="T81" fmla="*/ 5 h 1101"/>
                <a:gd name="T82" fmla="*/ 116 w 279"/>
                <a:gd name="T83" fmla="*/ 9 h 1101"/>
                <a:gd name="T84" fmla="*/ 123 w 279"/>
                <a:gd name="T85" fmla="*/ 13 h 1101"/>
                <a:gd name="T86" fmla="*/ 129 w 279"/>
                <a:gd name="T87" fmla="*/ 18 h 1101"/>
                <a:gd name="T88" fmla="*/ 134 w 279"/>
                <a:gd name="T89" fmla="*/ 23 h 1101"/>
                <a:gd name="T90" fmla="*/ 134 w 279"/>
                <a:gd name="T91" fmla="*/ 23 h 1101"/>
                <a:gd name="T92" fmla="*/ 139 w 279"/>
                <a:gd name="T93" fmla="*/ 29 h 1101"/>
                <a:gd name="T94" fmla="*/ 142 w 279"/>
                <a:gd name="T95" fmla="*/ 36 h 1101"/>
                <a:gd name="T96" fmla="*/ 146 w 279"/>
                <a:gd name="T97" fmla="*/ 45 h 1101"/>
                <a:gd name="T98" fmla="*/ 148 w 279"/>
                <a:gd name="T99" fmla="*/ 54 h 1101"/>
                <a:gd name="T100" fmla="*/ 151 w 279"/>
                <a:gd name="T101" fmla="*/ 75 h 1101"/>
                <a:gd name="T102" fmla="*/ 152 w 279"/>
                <a:gd name="T103" fmla="*/ 98 h 1101"/>
                <a:gd name="T104" fmla="*/ 152 w 279"/>
                <a:gd name="T105" fmla="*/ 912 h 1101"/>
                <a:gd name="T106" fmla="*/ 152 w 279"/>
                <a:gd name="T107" fmla="*/ 912 h 1101"/>
                <a:gd name="T108" fmla="*/ 153 w 279"/>
                <a:gd name="T109" fmla="*/ 928 h 1101"/>
                <a:gd name="T110" fmla="*/ 156 w 279"/>
                <a:gd name="T111" fmla="*/ 941 h 1101"/>
                <a:gd name="T112" fmla="*/ 161 w 279"/>
                <a:gd name="T113" fmla="*/ 952 h 1101"/>
                <a:gd name="T114" fmla="*/ 167 w 279"/>
                <a:gd name="T115" fmla="*/ 961 h 1101"/>
                <a:gd name="T116" fmla="*/ 176 w 279"/>
                <a:gd name="T117" fmla="*/ 968 h 1101"/>
                <a:gd name="T118" fmla="*/ 185 w 279"/>
                <a:gd name="T119" fmla="*/ 975 h 1101"/>
                <a:gd name="T120" fmla="*/ 197 w 279"/>
                <a:gd name="T121" fmla="*/ 977 h 1101"/>
                <a:gd name="T122" fmla="*/ 210 w 279"/>
                <a:gd name="T123" fmla="*/ 978 h 1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79" h="1101">
                  <a:moveTo>
                    <a:pt x="210" y="978"/>
                  </a:moveTo>
                  <a:lnTo>
                    <a:pt x="266" y="978"/>
                  </a:lnTo>
                  <a:lnTo>
                    <a:pt x="266" y="978"/>
                  </a:lnTo>
                  <a:lnTo>
                    <a:pt x="272" y="997"/>
                  </a:lnTo>
                  <a:lnTo>
                    <a:pt x="276" y="1014"/>
                  </a:lnTo>
                  <a:lnTo>
                    <a:pt x="278" y="1030"/>
                  </a:lnTo>
                  <a:lnTo>
                    <a:pt x="279" y="1045"/>
                  </a:lnTo>
                  <a:lnTo>
                    <a:pt x="279" y="1045"/>
                  </a:lnTo>
                  <a:lnTo>
                    <a:pt x="279" y="1059"/>
                  </a:lnTo>
                  <a:lnTo>
                    <a:pt x="278" y="1071"/>
                  </a:lnTo>
                  <a:lnTo>
                    <a:pt x="274" y="1091"/>
                  </a:lnTo>
                  <a:lnTo>
                    <a:pt x="274" y="1091"/>
                  </a:lnTo>
                  <a:lnTo>
                    <a:pt x="243" y="1096"/>
                  </a:lnTo>
                  <a:lnTo>
                    <a:pt x="213" y="1098"/>
                  </a:lnTo>
                  <a:lnTo>
                    <a:pt x="181" y="1101"/>
                  </a:lnTo>
                  <a:lnTo>
                    <a:pt x="147" y="1101"/>
                  </a:lnTo>
                  <a:lnTo>
                    <a:pt x="147" y="1101"/>
                  </a:lnTo>
                  <a:lnTo>
                    <a:pt x="130" y="1101"/>
                  </a:lnTo>
                  <a:lnTo>
                    <a:pt x="113" y="1099"/>
                  </a:lnTo>
                  <a:lnTo>
                    <a:pt x="98" y="1096"/>
                  </a:lnTo>
                  <a:lnTo>
                    <a:pt x="83" y="1092"/>
                  </a:lnTo>
                  <a:lnTo>
                    <a:pt x="71" y="1086"/>
                  </a:lnTo>
                  <a:lnTo>
                    <a:pt x="58" y="1080"/>
                  </a:lnTo>
                  <a:lnTo>
                    <a:pt x="47" y="1072"/>
                  </a:lnTo>
                  <a:lnTo>
                    <a:pt x="37" y="1062"/>
                  </a:lnTo>
                  <a:lnTo>
                    <a:pt x="29" y="1052"/>
                  </a:lnTo>
                  <a:lnTo>
                    <a:pt x="21" y="1041"/>
                  </a:lnTo>
                  <a:lnTo>
                    <a:pt x="15" y="1029"/>
                  </a:lnTo>
                  <a:lnTo>
                    <a:pt x="10" y="1014"/>
                  </a:lnTo>
                  <a:lnTo>
                    <a:pt x="5" y="999"/>
                  </a:lnTo>
                  <a:lnTo>
                    <a:pt x="3" y="983"/>
                  </a:lnTo>
                  <a:lnTo>
                    <a:pt x="2" y="966"/>
                  </a:lnTo>
                  <a:lnTo>
                    <a:pt x="0" y="947"/>
                  </a:lnTo>
                  <a:lnTo>
                    <a:pt x="0" y="9"/>
                  </a:lnTo>
                  <a:lnTo>
                    <a:pt x="11" y="0"/>
                  </a:lnTo>
                  <a:lnTo>
                    <a:pt x="69" y="0"/>
                  </a:lnTo>
                  <a:lnTo>
                    <a:pt x="69" y="0"/>
                  </a:lnTo>
                  <a:lnTo>
                    <a:pt x="81" y="0"/>
                  </a:lnTo>
                  <a:lnTo>
                    <a:pt x="90" y="2"/>
                  </a:lnTo>
                  <a:lnTo>
                    <a:pt x="100" y="3"/>
                  </a:lnTo>
                  <a:lnTo>
                    <a:pt x="109" y="5"/>
                  </a:lnTo>
                  <a:lnTo>
                    <a:pt x="116" y="9"/>
                  </a:lnTo>
                  <a:lnTo>
                    <a:pt x="123" y="13"/>
                  </a:lnTo>
                  <a:lnTo>
                    <a:pt x="129" y="18"/>
                  </a:lnTo>
                  <a:lnTo>
                    <a:pt x="134" y="23"/>
                  </a:lnTo>
                  <a:lnTo>
                    <a:pt x="134" y="23"/>
                  </a:lnTo>
                  <a:lnTo>
                    <a:pt x="139" y="29"/>
                  </a:lnTo>
                  <a:lnTo>
                    <a:pt x="142" y="36"/>
                  </a:lnTo>
                  <a:lnTo>
                    <a:pt x="146" y="45"/>
                  </a:lnTo>
                  <a:lnTo>
                    <a:pt x="148" y="54"/>
                  </a:lnTo>
                  <a:lnTo>
                    <a:pt x="151" y="75"/>
                  </a:lnTo>
                  <a:lnTo>
                    <a:pt x="152" y="98"/>
                  </a:lnTo>
                  <a:lnTo>
                    <a:pt x="152" y="912"/>
                  </a:lnTo>
                  <a:lnTo>
                    <a:pt x="152" y="912"/>
                  </a:lnTo>
                  <a:lnTo>
                    <a:pt x="153" y="928"/>
                  </a:lnTo>
                  <a:lnTo>
                    <a:pt x="156" y="941"/>
                  </a:lnTo>
                  <a:lnTo>
                    <a:pt x="161" y="952"/>
                  </a:lnTo>
                  <a:lnTo>
                    <a:pt x="167" y="961"/>
                  </a:lnTo>
                  <a:lnTo>
                    <a:pt x="176" y="968"/>
                  </a:lnTo>
                  <a:lnTo>
                    <a:pt x="185" y="975"/>
                  </a:lnTo>
                  <a:lnTo>
                    <a:pt x="197" y="977"/>
                  </a:lnTo>
                  <a:lnTo>
                    <a:pt x="210" y="9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dirty="0"/>
            </a:p>
          </p:txBody>
        </p:sp>
        <p:sp>
          <p:nvSpPr>
            <p:cNvPr id="14" name="Freeform 210"/>
            <p:cNvSpPr>
              <a:spLocks/>
            </p:cNvSpPr>
            <p:nvPr/>
          </p:nvSpPr>
          <p:spPr bwMode="auto">
            <a:xfrm>
              <a:off x="4665819" y="3868086"/>
              <a:ext cx="499965" cy="703587"/>
            </a:xfrm>
            <a:custGeom>
              <a:avLst/>
              <a:gdLst>
                <a:gd name="T0" fmla="*/ 2 w 550"/>
                <a:gd name="T1" fmla="*/ 686 h 774"/>
                <a:gd name="T2" fmla="*/ 17 w 550"/>
                <a:gd name="T3" fmla="*/ 642 h 774"/>
                <a:gd name="T4" fmla="*/ 33 w 550"/>
                <a:gd name="T5" fmla="*/ 614 h 774"/>
                <a:gd name="T6" fmla="*/ 50 w 550"/>
                <a:gd name="T7" fmla="*/ 591 h 774"/>
                <a:gd name="T8" fmla="*/ 133 w 550"/>
                <a:gd name="T9" fmla="*/ 632 h 774"/>
                <a:gd name="T10" fmla="*/ 203 w 550"/>
                <a:gd name="T11" fmla="*/ 653 h 774"/>
                <a:gd name="T12" fmla="*/ 243 w 550"/>
                <a:gd name="T13" fmla="*/ 658 h 774"/>
                <a:gd name="T14" fmla="*/ 295 w 550"/>
                <a:gd name="T15" fmla="*/ 654 h 774"/>
                <a:gd name="T16" fmla="*/ 334 w 550"/>
                <a:gd name="T17" fmla="*/ 643 h 774"/>
                <a:gd name="T18" fmla="*/ 355 w 550"/>
                <a:gd name="T19" fmla="*/ 632 h 774"/>
                <a:gd name="T20" fmla="*/ 377 w 550"/>
                <a:gd name="T21" fmla="*/ 611 h 774"/>
                <a:gd name="T22" fmla="*/ 390 w 550"/>
                <a:gd name="T23" fmla="*/ 585 h 774"/>
                <a:gd name="T24" fmla="*/ 392 w 550"/>
                <a:gd name="T25" fmla="*/ 565 h 774"/>
                <a:gd name="T26" fmla="*/ 388 w 550"/>
                <a:gd name="T27" fmla="*/ 542 h 774"/>
                <a:gd name="T28" fmla="*/ 379 w 550"/>
                <a:gd name="T29" fmla="*/ 521 h 774"/>
                <a:gd name="T30" fmla="*/ 339 w 550"/>
                <a:gd name="T31" fmla="*/ 484 h 774"/>
                <a:gd name="T32" fmla="*/ 214 w 550"/>
                <a:gd name="T33" fmla="*/ 433 h 774"/>
                <a:gd name="T34" fmla="*/ 171 w 550"/>
                <a:gd name="T35" fmla="*/ 414 h 774"/>
                <a:gd name="T36" fmla="*/ 116 w 550"/>
                <a:gd name="T37" fmla="*/ 382 h 774"/>
                <a:gd name="T38" fmla="*/ 74 w 550"/>
                <a:gd name="T39" fmla="*/ 344 h 774"/>
                <a:gd name="T40" fmla="*/ 44 w 550"/>
                <a:gd name="T41" fmla="*/ 301 h 774"/>
                <a:gd name="T42" fmla="*/ 29 w 550"/>
                <a:gd name="T43" fmla="*/ 254 h 774"/>
                <a:gd name="T44" fmla="*/ 27 w 550"/>
                <a:gd name="T45" fmla="*/ 220 h 774"/>
                <a:gd name="T46" fmla="*/ 37 w 550"/>
                <a:gd name="T47" fmla="*/ 149 h 774"/>
                <a:gd name="T48" fmla="*/ 67 w 550"/>
                <a:gd name="T49" fmla="*/ 91 h 774"/>
                <a:gd name="T50" fmla="*/ 100 w 550"/>
                <a:gd name="T51" fmla="*/ 58 h 774"/>
                <a:gd name="T52" fmla="*/ 161 w 550"/>
                <a:gd name="T53" fmla="*/ 22 h 774"/>
                <a:gd name="T54" fmla="*/ 235 w 550"/>
                <a:gd name="T55" fmla="*/ 4 h 774"/>
                <a:gd name="T56" fmla="*/ 292 w 550"/>
                <a:gd name="T57" fmla="*/ 0 h 774"/>
                <a:gd name="T58" fmla="*/ 382 w 550"/>
                <a:gd name="T59" fmla="*/ 7 h 774"/>
                <a:gd name="T60" fmla="*/ 472 w 550"/>
                <a:gd name="T61" fmla="*/ 30 h 774"/>
                <a:gd name="T62" fmla="*/ 532 w 550"/>
                <a:gd name="T63" fmla="*/ 53 h 774"/>
                <a:gd name="T64" fmla="*/ 525 w 550"/>
                <a:gd name="T65" fmla="*/ 99 h 774"/>
                <a:gd name="T66" fmla="*/ 513 w 550"/>
                <a:gd name="T67" fmla="*/ 131 h 774"/>
                <a:gd name="T68" fmla="*/ 486 w 550"/>
                <a:gd name="T69" fmla="*/ 165 h 774"/>
                <a:gd name="T70" fmla="*/ 434 w 550"/>
                <a:gd name="T71" fmla="*/ 144 h 774"/>
                <a:gd name="T72" fmla="*/ 359 w 550"/>
                <a:gd name="T73" fmla="*/ 123 h 774"/>
                <a:gd name="T74" fmla="*/ 287 w 550"/>
                <a:gd name="T75" fmla="*/ 116 h 774"/>
                <a:gd name="T76" fmla="*/ 264 w 550"/>
                <a:gd name="T77" fmla="*/ 119 h 774"/>
                <a:gd name="T78" fmla="*/ 234 w 550"/>
                <a:gd name="T79" fmla="*/ 126 h 774"/>
                <a:gd name="T80" fmla="*/ 209 w 550"/>
                <a:gd name="T81" fmla="*/ 141 h 774"/>
                <a:gd name="T82" fmla="*/ 196 w 550"/>
                <a:gd name="T83" fmla="*/ 153 h 774"/>
                <a:gd name="T84" fmla="*/ 184 w 550"/>
                <a:gd name="T85" fmla="*/ 175 h 774"/>
                <a:gd name="T86" fmla="*/ 180 w 550"/>
                <a:gd name="T87" fmla="*/ 201 h 774"/>
                <a:gd name="T88" fmla="*/ 184 w 550"/>
                <a:gd name="T89" fmla="*/ 226 h 774"/>
                <a:gd name="T90" fmla="*/ 192 w 550"/>
                <a:gd name="T91" fmla="*/ 246 h 774"/>
                <a:gd name="T92" fmla="*/ 201 w 550"/>
                <a:gd name="T93" fmla="*/ 256 h 774"/>
                <a:gd name="T94" fmla="*/ 249 w 550"/>
                <a:gd name="T95" fmla="*/ 285 h 774"/>
                <a:gd name="T96" fmla="*/ 361 w 550"/>
                <a:gd name="T97" fmla="*/ 328 h 774"/>
                <a:gd name="T98" fmla="*/ 425 w 550"/>
                <a:gd name="T99" fmla="*/ 358 h 774"/>
                <a:gd name="T100" fmla="*/ 476 w 550"/>
                <a:gd name="T101" fmla="*/ 394 h 774"/>
                <a:gd name="T102" fmla="*/ 513 w 550"/>
                <a:gd name="T103" fmla="*/ 435 h 774"/>
                <a:gd name="T104" fmla="*/ 538 w 550"/>
                <a:gd name="T105" fmla="*/ 482 h 774"/>
                <a:gd name="T106" fmla="*/ 549 w 550"/>
                <a:gd name="T107" fmla="*/ 533 h 774"/>
                <a:gd name="T108" fmla="*/ 549 w 550"/>
                <a:gd name="T109" fmla="*/ 577 h 774"/>
                <a:gd name="T110" fmla="*/ 530 w 550"/>
                <a:gd name="T111" fmla="*/ 645 h 774"/>
                <a:gd name="T112" fmla="*/ 488 w 550"/>
                <a:gd name="T113" fmla="*/ 699 h 774"/>
                <a:gd name="T114" fmla="*/ 450 w 550"/>
                <a:gd name="T115" fmla="*/ 728 h 774"/>
                <a:gd name="T116" fmla="*/ 377 w 550"/>
                <a:gd name="T117" fmla="*/ 759 h 774"/>
                <a:gd name="T118" fmla="*/ 288 w 550"/>
                <a:gd name="T119" fmla="*/ 774 h 774"/>
                <a:gd name="T120" fmla="*/ 223 w 550"/>
                <a:gd name="T121" fmla="*/ 773 h 774"/>
                <a:gd name="T122" fmla="*/ 127 w 550"/>
                <a:gd name="T123" fmla="*/ 756 h 774"/>
                <a:gd name="T124" fmla="*/ 32 w 550"/>
                <a:gd name="T125" fmla="*/ 716 h 7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50" h="774">
                  <a:moveTo>
                    <a:pt x="0" y="699"/>
                  </a:moveTo>
                  <a:lnTo>
                    <a:pt x="0" y="699"/>
                  </a:lnTo>
                  <a:lnTo>
                    <a:pt x="2" y="686"/>
                  </a:lnTo>
                  <a:lnTo>
                    <a:pt x="5" y="673"/>
                  </a:lnTo>
                  <a:lnTo>
                    <a:pt x="9" y="658"/>
                  </a:lnTo>
                  <a:lnTo>
                    <a:pt x="17" y="642"/>
                  </a:lnTo>
                  <a:lnTo>
                    <a:pt x="17" y="642"/>
                  </a:lnTo>
                  <a:lnTo>
                    <a:pt x="24" y="627"/>
                  </a:lnTo>
                  <a:lnTo>
                    <a:pt x="33" y="614"/>
                  </a:lnTo>
                  <a:lnTo>
                    <a:pt x="42" y="603"/>
                  </a:lnTo>
                  <a:lnTo>
                    <a:pt x="50" y="591"/>
                  </a:lnTo>
                  <a:lnTo>
                    <a:pt x="50" y="591"/>
                  </a:lnTo>
                  <a:lnTo>
                    <a:pt x="80" y="607"/>
                  </a:lnTo>
                  <a:lnTo>
                    <a:pt x="107" y="621"/>
                  </a:lnTo>
                  <a:lnTo>
                    <a:pt x="133" y="632"/>
                  </a:lnTo>
                  <a:lnTo>
                    <a:pt x="158" y="641"/>
                  </a:lnTo>
                  <a:lnTo>
                    <a:pt x="181" y="648"/>
                  </a:lnTo>
                  <a:lnTo>
                    <a:pt x="203" y="653"/>
                  </a:lnTo>
                  <a:lnTo>
                    <a:pt x="224" y="657"/>
                  </a:lnTo>
                  <a:lnTo>
                    <a:pt x="243" y="658"/>
                  </a:lnTo>
                  <a:lnTo>
                    <a:pt x="243" y="658"/>
                  </a:lnTo>
                  <a:lnTo>
                    <a:pt x="261" y="657"/>
                  </a:lnTo>
                  <a:lnTo>
                    <a:pt x="279" y="656"/>
                  </a:lnTo>
                  <a:lnTo>
                    <a:pt x="295" y="654"/>
                  </a:lnTo>
                  <a:lnTo>
                    <a:pt x="309" y="651"/>
                  </a:lnTo>
                  <a:lnTo>
                    <a:pt x="322" y="648"/>
                  </a:lnTo>
                  <a:lnTo>
                    <a:pt x="334" y="643"/>
                  </a:lnTo>
                  <a:lnTo>
                    <a:pt x="345" y="638"/>
                  </a:lnTo>
                  <a:lnTo>
                    <a:pt x="355" y="632"/>
                  </a:lnTo>
                  <a:lnTo>
                    <a:pt x="355" y="632"/>
                  </a:lnTo>
                  <a:lnTo>
                    <a:pt x="364" y="626"/>
                  </a:lnTo>
                  <a:lnTo>
                    <a:pt x="371" y="619"/>
                  </a:lnTo>
                  <a:lnTo>
                    <a:pt x="377" y="611"/>
                  </a:lnTo>
                  <a:lnTo>
                    <a:pt x="382" y="603"/>
                  </a:lnTo>
                  <a:lnTo>
                    <a:pt x="387" y="594"/>
                  </a:lnTo>
                  <a:lnTo>
                    <a:pt x="390" y="585"/>
                  </a:lnTo>
                  <a:lnTo>
                    <a:pt x="391" y="575"/>
                  </a:lnTo>
                  <a:lnTo>
                    <a:pt x="392" y="565"/>
                  </a:lnTo>
                  <a:lnTo>
                    <a:pt x="392" y="565"/>
                  </a:lnTo>
                  <a:lnTo>
                    <a:pt x="392" y="558"/>
                  </a:lnTo>
                  <a:lnTo>
                    <a:pt x="391" y="549"/>
                  </a:lnTo>
                  <a:lnTo>
                    <a:pt x="388" y="542"/>
                  </a:lnTo>
                  <a:lnTo>
                    <a:pt x="386" y="535"/>
                  </a:lnTo>
                  <a:lnTo>
                    <a:pt x="382" y="527"/>
                  </a:lnTo>
                  <a:lnTo>
                    <a:pt x="379" y="521"/>
                  </a:lnTo>
                  <a:lnTo>
                    <a:pt x="369" y="507"/>
                  </a:lnTo>
                  <a:lnTo>
                    <a:pt x="355" y="495"/>
                  </a:lnTo>
                  <a:lnTo>
                    <a:pt x="339" y="484"/>
                  </a:lnTo>
                  <a:lnTo>
                    <a:pt x="320" y="474"/>
                  </a:lnTo>
                  <a:lnTo>
                    <a:pt x="298" y="464"/>
                  </a:lnTo>
                  <a:lnTo>
                    <a:pt x="214" y="433"/>
                  </a:lnTo>
                  <a:lnTo>
                    <a:pt x="214" y="433"/>
                  </a:lnTo>
                  <a:lnTo>
                    <a:pt x="192" y="423"/>
                  </a:lnTo>
                  <a:lnTo>
                    <a:pt x="171" y="414"/>
                  </a:lnTo>
                  <a:lnTo>
                    <a:pt x="150" y="404"/>
                  </a:lnTo>
                  <a:lnTo>
                    <a:pt x="133" y="393"/>
                  </a:lnTo>
                  <a:lnTo>
                    <a:pt x="116" y="382"/>
                  </a:lnTo>
                  <a:lnTo>
                    <a:pt x="100" y="369"/>
                  </a:lnTo>
                  <a:lnTo>
                    <a:pt x="86" y="357"/>
                  </a:lnTo>
                  <a:lnTo>
                    <a:pt x="74" y="344"/>
                  </a:lnTo>
                  <a:lnTo>
                    <a:pt x="63" y="331"/>
                  </a:lnTo>
                  <a:lnTo>
                    <a:pt x="53" y="316"/>
                  </a:lnTo>
                  <a:lnTo>
                    <a:pt x="44" y="301"/>
                  </a:lnTo>
                  <a:lnTo>
                    <a:pt x="38" y="286"/>
                  </a:lnTo>
                  <a:lnTo>
                    <a:pt x="33" y="270"/>
                  </a:lnTo>
                  <a:lnTo>
                    <a:pt x="29" y="254"/>
                  </a:lnTo>
                  <a:lnTo>
                    <a:pt x="27" y="237"/>
                  </a:lnTo>
                  <a:lnTo>
                    <a:pt x="27" y="220"/>
                  </a:lnTo>
                  <a:lnTo>
                    <a:pt x="27" y="220"/>
                  </a:lnTo>
                  <a:lnTo>
                    <a:pt x="27" y="195"/>
                  </a:lnTo>
                  <a:lnTo>
                    <a:pt x="30" y="172"/>
                  </a:lnTo>
                  <a:lnTo>
                    <a:pt x="37" y="149"/>
                  </a:lnTo>
                  <a:lnTo>
                    <a:pt x="44" y="128"/>
                  </a:lnTo>
                  <a:lnTo>
                    <a:pt x="55" y="109"/>
                  </a:lnTo>
                  <a:lnTo>
                    <a:pt x="67" y="91"/>
                  </a:lnTo>
                  <a:lnTo>
                    <a:pt x="82" y="74"/>
                  </a:lnTo>
                  <a:lnTo>
                    <a:pt x="100" y="58"/>
                  </a:lnTo>
                  <a:lnTo>
                    <a:pt x="100" y="58"/>
                  </a:lnTo>
                  <a:lnTo>
                    <a:pt x="119" y="44"/>
                  </a:lnTo>
                  <a:lnTo>
                    <a:pt x="139" y="32"/>
                  </a:lnTo>
                  <a:lnTo>
                    <a:pt x="161" y="22"/>
                  </a:lnTo>
                  <a:lnTo>
                    <a:pt x="185" y="14"/>
                  </a:lnTo>
                  <a:lnTo>
                    <a:pt x="209" y="7"/>
                  </a:lnTo>
                  <a:lnTo>
                    <a:pt x="235" y="4"/>
                  </a:lnTo>
                  <a:lnTo>
                    <a:pt x="264" y="0"/>
                  </a:lnTo>
                  <a:lnTo>
                    <a:pt x="292" y="0"/>
                  </a:lnTo>
                  <a:lnTo>
                    <a:pt x="292" y="0"/>
                  </a:lnTo>
                  <a:lnTo>
                    <a:pt x="322" y="0"/>
                  </a:lnTo>
                  <a:lnTo>
                    <a:pt x="353" y="2"/>
                  </a:lnTo>
                  <a:lnTo>
                    <a:pt x="382" y="7"/>
                  </a:lnTo>
                  <a:lnTo>
                    <a:pt x="413" y="12"/>
                  </a:lnTo>
                  <a:lnTo>
                    <a:pt x="443" y="20"/>
                  </a:lnTo>
                  <a:lnTo>
                    <a:pt x="472" y="30"/>
                  </a:lnTo>
                  <a:lnTo>
                    <a:pt x="502" y="41"/>
                  </a:lnTo>
                  <a:lnTo>
                    <a:pt x="532" y="53"/>
                  </a:lnTo>
                  <a:lnTo>
                    <a:pt x="532" y="53"/>
                  </a:lnTo>
                  <a:lnTo>
                    <a:pt x="532" y="68"/>
                  </a:lnTo>
                  <a:lnTo>
                    <a:pt x="529" y="84"/>
                  </a:lnTo>
                  <a:lnTo>
                    <a:pt x="525" y="99"/>
                  </a:lnTo>
                  <a:lnTo>
                    <a:pt x="519" y="116"/>
                  </a:lnTo>
                  <a:lnTo>
                    <a:pt x="519" y="116"/>
                  </a:lnTo>
                  <a:lnTo>
                    <a:pt x="513" y="131"/>
                  </a:lnTo>
                  <a:lnTo>
                    <a:pt x="504" y="144"/>
                  </a:lnTo>
                  <a:lnTo>
                    <a:pt x="496" y="157"/>
                  </a:lnTo>
                  <a:lnTo>
                    <a:pt x="486" y="165"/>
                  </a:lnTo>
                  <a:lnTo>
                    <a:pt x="486" y="165"/>
                  </a:lnTo>
                  <a:lnTo>
                    <a:pt x="460" y="154"/>
                  </a:lnTo>
                  <a:lnTo>
                    <a:pt x="434" y="144"/>
                  </a:lnTo>
                  <a:lnTo>
                    <a:pt x="408" y="136"/>
                  </a:lnTo>
                  <a:lnTo>
                    <a:pt x="383" y="128"/>
                  </a:lnTo>
                  <a:lnTo>
                    <a:pt x="359" y="123"/>
                  </a:lnTo>
                  <a:lnTo>
                    <a:pt x="334" y="120"/>
                  </a:lnTo>
                  <a:lnTo>
                    <a:pt x="311" y="117"/>
                  </a:lnTo>
                  <a:lnTo>
                    <a:pt x="287" y="116"/>
                  </a:lnTo>
                  <a:lnTo>
                    <a:pt x="287" y="116"/>
                  </a:lnTo>
                  <a:lnTo>
                    <a:pt x="275" y="117"/>
                  </a:lnTo>
                  <a:lnTo>
                    <a:pt x="264" y="119"/>
                  </a:lnTo>
                  <a:lnTo>
                    <a:pt x="253" y="120"/>
                  </a:lnTo>
                  <a:lnTo>
                    <a:pt x="243" y="122"/>
                  </a:lnTo>
                  <a:lnTo>
                    <a:pt x="234" y="126"/>
                  </a:lnTo>
                  <a:lnTo>
                    <a:pt x="224" y="130"/>
                  </a:lnTo>
                  <a:lnTo>
                    <a:pt x="217" y="135"/>
                  </a:lnTo>
                  <a:lnTo>
                    <a:pt x="209" y="141"/>
                  </a:lnTo>
                  <a:lnTo>
                    <a:pt x="209" y="141"/>
                  </a:lnTo>
                  <a:lnTo>
                    <a:pt x="202" y="147"/>
                  </a:lnTo>
                  <a:lnTo>
                    <a:pt x="196" y="153"/>
                  </a:lnTo>
                  <a:lnTo>
                    <a:pt x="191" y="160"/>
                  </a:lnTo>
                  <a:lnTo>
                    <a:pt x="187" y="168"/>
                  </a:lnTo>
                  <a:lnTo>
                    <a:pt x="184" y="175"/>
                  </a:lnTo>
                  <a:lnTo>
                    <a:pt x="182" y="184"/>
                  </a:lnTo>
                  <a:lnTo>
                    <a:pt x="181" y="191"/>
                  </a:lnTo>
                  <a:lnTo>
                    <a:pt x="180" y="201"/>
                  </a:lnTo>
                  <a:lnTo>
                    <a:pt x="180" y="201"/>
                  </a:lnTo>
                  <a:lnTo>
                    <a:pt x="181" y="217"/>
                  </a:lnTo>
                  <a:lnTo>
                    <a:pt x="184" y="226"/>
                  </a:lnTo>
                  <a:lnTo>
                    <a:pt x="185" y="233"/>
                  </a:lnTo>
                  <a:lnTo>
                    <a:pt x="188" y="240"/>
                  </a:lnTo>
                  <a:lnTo>
                    <a:pt x="192" y="246"/>
                  </a:lnTo>
                  <a:lnTo>
                    <a:pt x="196" y="251"/>
                  </a:lnTo>
                  <a:lnTo>
                    <a:pt x="201" y="256"/>
                  </a:lnTo>
                  <a:lnTo>
                    <a:pt x="201" y="256"/>
                  </a:lnTo>
                  <a:lnTo>
                    <a:pt x="214" y="265"/>
                  </a:lnTo>
                  <a:lnTo>
                    <a:pt x="229" y="275"/>
                  </a:lnTo>
                  <a:lnTo>
                    <a:pt x="249" y="285"/>
                  </a:lnTo>
                  <a:lnTo>
                    <a:pt x="272" y="295"/>
                  </a:lnTo>
                  <a:lnTo>
                    <a:pt x="361" y="328"/>
                  </a:lnTo>
                  <a:lnTo>
                    <a:pt x="361" y="328"/>
                  </a:lnTo>
                  <a:lnTo>
                    <a:pt x="383" y="338"/>
                  </a:lnTo>
                  <a:lnTo>
                    <a:pt x="406" y="348"/>
                  </a:lnTo>
                  <a:lnTo>
                    <a:pt x="425" y="358"/>
                  </a:lnTo>
                  <a:lnTo>
                    <a:pt x="444" y="369"/>
                  </a:lnTo>
                  <a:lnTo>
                    <a:pt x="460" y="382"/>
                  </a:lnTo>
                  <a:lnTo>
                    <a:pt x="476" y="394"/>
                  </a:lnTo>
                  <a:lnTo>
                    <a:pt x="490" y="407"/>
                  </a:lnTo>
                  <a:lnTo>
                    <a:pt x="502" y="421"/>
                  </a:lnTo>
                  <a:lnTo>
                    <a:pt x="513" y="435"/>
                  </a:lnTo>
                  <a:lnTo>
                    <a:pt x="523" y="449"/>
                  </a:lnTo>
                  <a:lnTo>
                    <a:pt x="532" y="465"/>
                  </a:lnTo>
                  <a:lnTo>
                    <a:pt x="538" y="482"/>
                  </a:lnTo>
                  <a:lnTo>
                    <a:pt x="543" y="499"/>
                  </a:lnTo>
                  <a:lnTo>
                    <a:pt x="546" y="516"/>
                  </a:lnTo>
                  <a:lnTo>
                    <a:pt x="549" y="533"/>
                  </a:lnTo>
                  <a:lnTo>
                    <a:pt x="550" y="552"/>
                  </a:lnTo>
                  <a:lnTo>
                    <a:pt x="550" y="552"/>
                  </a:lnTo>
                  <a:lnTo>
                    <a:pt x="549" y="577"/>
                  </a:lnTo>
                  <a:lnTo>
                    <a:pt x="545" y="601"/>
                  </a:lnTo>
                  <a:lnTo>
                    <a:pt x="539" y="624"/>
                  </a:lnTo>
                  <a:lnTo>
                    <a:pt x="530" y="645"/>
                  </a:lnTo>
                  <a:lnTo>
                    <a:pt x="519" y="664"/>
                  </a:lnTo>
                  <a:lnTo>
                    <a:pt x="506" y="683"/>
                  </a:lnTo>
                  <a:lnTo>
                    <a:pt x="488" y="699"/>
                  </a:lnTo>
                  <a:lnTo>
                    <a:pt x="470" y="715"/>
                  </a:lnTo>
                  <a:lnTo>
                    <a:pt x="470" y="715"/>
                  </a:lnTo>
                  <a:lnTo>
                    <a:pt x="450" y="728"/>
                  </a:lnTo>
                  <a:lnTo>
                    <a:pt x="428" y="741"/>
                  </a:lnTo>
                  <a:lnTo>
                    <a:pt x="403" y="751"/>
                  </a:lnTo>
                  <a:lnTo>
                    <a:pt x="377" y="759"/>
                  </a:lnTo>
                  <a:lnTo>
                    <a:pt x="350" y="767"/>
                  </a:lnTo>
                  <a:lnTo>
                    <a:pt x="320" y="770"/>
                  </a:lnTo>
                  <a:lnTo>
                    <a:pt x="288" y="774"/>
                  </a:lnTo>
                  <a:lnTo>
                    <a:pt x="255" y="774"/>
                  </a:lnTo>
                  <a:lnTo>
                    <a:pt x="255" y="774"/>
                  </a:lnTo>
                  <a:lnTo>
                    <a:pt x="223" y="773"/>
                  </a:lnTo>
                  <a:lnTo>
                    <a:pt x="191" y="769"/>
                  </a:lnTo>
                  <a:lnTo>
                    <a:pt x="159" y="763"/>
                  </a:lnTo>
                  <a:lnTo>
                    <a:pt x="127" y="756"/>
                  </a:lnTo>
                  <a:lnTo>
                    <a:pt x="95" y="745"/>
                  </a:lnTo>
                  <a:lnTo>
                    <a:pt x="63" y="732"/>
                  </a:lnTo>
                  <a:lnTo>
                    <a:pt x="32" y="716"/>
                  </a:lnTo>
                  <a:lnTo>
                    <a:pt x="0" y="6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dirty="0"/>
            </a:p>
          </p:txBody>
        </p:sp>
        <p:sp>
          <p:nvSpPr>
            <p:cNvPr id="15" name="Freeform 212"/>
            <p:cNvSpPr>
              <a:spLocks noEditPoints="1"/>
            </p:cNvSpPr>
            <p:nvPr/>
          </p:nvSpPr>
          <p:spPr bwMode="auto">
            <a:xfrm>
              <a:off x="5275776" y="3868086"/>
              <a:ext cx="550870" cy="703587"/>
            </a:xfrm>
            <a:custGeom>
              <a:avLst/>
              <a:gdLst>
                <a:gd name="T0" fmla="*/ 293 w 606"/>
                <a:gd name="T1" fmla="*/ 115 h 774"/>
                <a:gd name="T2" fmla="*/ 248 w 606"/>
                <a:gd name="T3" fmla="*/ 127 h 774"/>
                <a:gd name="T4" fmla="*/ 211 w 606"/>
                <a:gd name="T5" fmla="*/ 154 h 774"/>
                <a:gd name="T6" fmla="*/ 184 w 606"/>
                <a:gd name="T7" fmla="*/ 195 h 774"/>
                <a:gd name="T8" fmla="*/ 167 w 606"/>
                <a:gd name="T9" fmla="*/ 252 h 774"/>
                <a:gd name="T10" fmla="*/ 158 w 606"/>
                <a:gd name="T11" fmla="*/ 323 h 774"/>
                <a:gd name="T12" fmla="*/ 459 w 606"/>
                <a:gd name="T13" fmla="*/ 305 h 774"/>
                <a:gd name="T14" fmla="*/ 454 w 606"/>
                <a:gd name="T15" fmla="*/ 244 h 774"/>
                <a:gd name="T16" fmla="*/ 438 w 606"/>
                <a:gd name="T17" fmla="*/ 195 h 774"/>
                <a:gd name="T18" fmla="*/ 422 w 606"/>
                <a:gd name="T19" fmla="*/ 167 h 774"/>
                <a:gd name="T20" fmla="*/ 389 w 606"/>
                <a:gd name="T21" fmla="*/ 135 h 774"/>
                <a:gd name="T22" fmla="*/ 346 w 606"/>
                <a:gd name="T23" fmla="*/ 117 h 774"/>
                <a:gd name="T24" fmla="*/ 596 w 606"/>
                <a:gd name="T25" fmla="*/ 436 h 774"/>
                <a:gd name="T26" fmla="*/ 160 w 606"/>
                <a:gd name="T27" fmla="*/ 461 h 774"/>
                <a:gd name="T28" fmla="*/ 172 w 606"/>
                <a:gd name="T29" fmla="*/ 527 h 774"/>
                <a:gd name="T30" fmla="*/ 194 w 606"/>
                <a:gd name="T31" fmla="*/ 579 h 774"/>
                <a:gd name="T32" fmla="*/ 214 w 606"/>
                <a:gd name="T33" fmla="*/ 606 h 774"/>
                <a:gd name="T34" fmla="*/ 255 w 606"/>
                <a:gd name="T35" fmla="*/ 635 h 774"/>
                <a:gd name="T36" fmla="*/ 313 w 606"/>
                <a:gd name="T37" fmla="*/ 648 h 774"/>
                <a:gd name="T38" fmla="*/ 359 w 606"/>
                <a:gd name="T39" fmla="*/ 648 h 774"/>
                <a:gd name="T40" fmla="*/ 432 w 606"/>
                <a:gd name="T41" fmla="*/ 636 h 774"/>
                <a:gd name="T42" fmla="*/ 484 w 606"/>
                <a:gd name="T43" fmla="*/ 617 h 774"/>
                <a:gd name="T44" fmla="*/ 538 w 606"/>
                <a:gd name="T45" fmla="*/ 591 h 774"/>
                <a:gd name="T46" fmla="*/ 563 w 606"/>
                <a:gd name="T47" fmla="*/ 622 h 774"/>
                <a:gd name="T48" fmla="*/ 580 w 606"/>
                <a:gd name="T49" fmla="*/ 661 h 774"/>
                <a:gd name="T50" fmla="*/ 587 w 606"/>
                <a:gd name="T51" fmla="*/ 690 h 774"/>
                <a:gd name="T52" fmla="*/ 492 w 606"/>
                <a:gd name="T53" fmla="*/ 741 h 774"/>
                <a:gd name="T54" fmla="*/ 386 w 606"/>
                <a:gd name="T55" fmla="*/ 768 h 774"/>
                <a:gd name="T56" fmla="*/ 309 w 606"/>
                <a:gd name="T57" fmla="*/ 774 h 774"/>
                <a:gd name="T58" fmla="*/ 248 w 606"/>
                <a:gd name="T59" fmla="*/ 769 h 774"/>
                <a:gd name="T60" fmla="*/ 195 w 606"/>
                <a:gd name="T61" fmla="*/ 757 h 774"/>
                <a:gd name="T62" fmla="*/ 165 w 606"/>
                <a:gd name="T63" fmla="*/ 743 h 774"/>
                <a:gd name="T64" fmla="*/ 125 w 606"/>
                <a:gd name="T65" fmla="*/ 717 h 774"/>
                <a:gd name="T66" fmla="*/ 90 w 606"/>
                <a:gd name="T67" fmla="*/ 686 h 774"/>
                <a:gd name="T68" fmla="*/ 70 w 606"/>
                <a:gd name="T69" fmla="*/ 662 h 774"/>
                <a:gd name="T70" fmla="*/ 46 w 606"/>
                <a:gd name="T71" fmla="*/ 620 h 774"/>
                <a:gd name="T72" fmla="*/ 27 w 606"/>
                <a:gd name="T73" fmla="*/ 572 h 774"/>
                <a:gd name="T74" fmla="*/ 10 w 606"/>
                <a:gd name="T75" fmla="*/ 501 h 774"/>
                <a:gd name="T76" fmla="*/ 0 w 606"/>
                <a:gd name="T77" fmla="*/ 382 h 774"/>
                <a:gd name="T78" fmla="*/ 5 w 606"/>
                <a:gd name="T79" fmla="*/ 302 h 774"/>
                <a:gd name="T80" fmla="*/ 21 w 606"/>
                <a:gd name="T81" fmla="*/ 228 h 774"/>
                <a:gd name="T82" fmla="*/ 38 w 606"/>
                <a:gd name="T83" fmla="*/ 179 h 774"/>
                <a:gd name="T84" fmla="*/ 62 w 606"/>
                <a:gd name="T85" fmla="*/ 135 h 774"/>
                <a:gd name="T86" fmla="*/ 80 w 606"/>
                <a:gd name="T87" fmla="*/ 107 h 774"/>
                <a:gd name="T88" fmla="*/ 112 w 606"/>
                <a:gd name="T89" fmla="*/ 73 h 774"/>
                <a:gd name="T90" fmla="*/ 149 w 606"/>
                <a:gd name="T91" fmla="*/ 44 h 774"/>
                <a:gd name="T92" fmla="*/ 176 w 606"/>
                <a:gd name="T93" fmla="*/ 28 h 774"/>
                <a:gd name="T94" fmla="*/ 221 w 606"/>
                <a:gd name="T95" fmla="*/ 11 h 774"/>
                <a:gd name="T96" fmla="*/ 270 w 606"/>
                <a:gd name="T97" fmla="*/ 1 h 774"/>
                <a:gd name="T98" fmla="*/ 305 w 606"/>
                <a:gd name="T99" fmla="*/ 0 h 774"/>
                <a:gd name="T100" fmla="*/ 357 w 606"/>
                <a:gd name="T101" fmla="*/ 2 h 774"/>
                <a:gd name="T102" fmla="*/ 404 w 606"/>
                <a:gd name="T103" fmla="*/ 14 h 774"/>
                <a:gd name="T104" fmla="*/ 432 w 606"/>
                <a:gd name="T105" fmla="*/ 23 h 774"/>
                <a:gd name="T106" fmla="*/ 471 w 606"/>
                <a:gd name="T107" fmla="*/ 44 h 774"/>
                <a:gd name="T108" fmla="*/ 506 w 606"/>
                <a:gd name="T109" fmla="*/ 69 h 774"/>
                <a:gd name="T110" fmla="*/ 536 w 606"/>
                <a:gd name="T111" fmla="*/ 100 h 774"/>
                <a:gd name="T112" fmla="*/ 560 w 606"/>
                <a:gd name="T113" fmla="*/ 136 h 774"/>
                <a:gd name="T114" fmla="*/ 586 w 606"/>
                <a:gd name="T115" fmla="*/ 191 h 774"/>
                <a:gd name="T116" fmla="*/ 601 w 606"/>
                <a:gd name="T117" fmla="*/ 252 h 774"/>
                <a:gd name="T118" fmla="*/ 606 w 606"/>
                <a:gd name="T119" fmla="*/ 319 h 774"/>
                <a:gd name="T120" fmla="*/ 604 w 606"/>
                <a:gd name="T121" fmla="*/ 378 h 7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606" h="774">
                  <a:moveTo>
                    <a:pt x="310" y="114"/>
                  </a:moveTo>
                  <a:lnTo>
                    <a:pt x="310" y="114"/>
                  </a:lnTo>
                  <a:lnTo>
                    <a:pt x="293" y="115"/>
                  </a:lnTo>
                  <a:lnTo>
                    <a:pt x="276" y="117"/>
                  </a:lnTo>
                  <a:lnTo>
                    <a:pt x="262" y="121"/>
                  </a:lnTo>
                  <a:lnTo>
                    <a:pt x="248" y="127"/>
                  </a:lnTo>
                  <a:lnTo>
                    <a:pt x="235" y="135"/>
                  </a:lnTo>
                  <a:lnTo>
                    <a:pt x="222" y="143"/>
                  </a:lnTo>
                  <a:lnTo>
                    <a:pt x="211" y="154"/>
                  </a:lnTo>
                  <a:lnTo>
                    <a:pt x="201" y="167"/>
                  </a:lnTo>
                  <a:lnTo>
                    <a:pt x="193" y="180"/>
                  </a:lnTo>
                  <a:lnTo>
                    <a:pt x="184" y="195"/>
                  </a:lnTo>
                  <a:lnTo>
                    <a:pt x="178" y="212"/>
                  </a:lnTo>
                  <a:lnTo>
                    <a:pt x="172" y="232"/>
                  </a:lnTo>
                  <a:lnTo>
                    <a:pt x="167" y="252"/>
                  </a:lnTo>
                  <a:lnTo>
                    <a:pt x="163" y="274"/>
                  </a:lnTo>
                  <a:lnTo>
                    <a:pt x="160" y="299"/>
                  </a:lnTo>
                  <a:lnTo>
                    <a:pt x="158" y="323"/>
                  </a:lnTo>
                  <a:lnTo>
                    <a:pt x="459" y="323"/>
                  </a:lnTo>
                  <a:lnTo>
                    <a:pt x="459" y="305"/>
                  </a:lnTo>
                  <a:lnTo>
                    <a:pt x="459" y="305"/>
                  </a:lnTo>
                  <a:lnTo>
                    <a:pt x="458" y="284"/>
                  </a:lnTo>
                  <a:lnTo>
                    <a:pt x="457" y="264"/>
                  </a:lnTo>
                  <a:lnTo>
                    <a:pt x="454" y="244"/>
                  </a:lnTo>
                  <a:lnTo>
                    <a:pt x="449" y="227"/>
                  </a:lnTo>
                  <a:lnTo>
                    <a:pt x="444" y="211"/>
                  </a:lnTo>
                  <a:lnTo>
                    <a:pt x="438" y="195"/>
                  </a:lnTo>
                  <a:lnTo>
                    <a:pt x="431" y="180"/>
                  </a:lnTo>
                  <a:lnTo>
                    <a:pt x="422" y="167"/>
                  </a:lnTo>
                  <a:lnTo>
                    <a:pt x="422" y="167"/>
                  </a:lnTo>
                  <a:lnTo>
                    <a:pt x="412" y="154"/>
                  </a:lnTo>
                  <a:lnTo>
                    <a:pt x="401" y="144"/>
                  </a:lnTo>
                  <a:lnTo>
                    <a:pt x="389" y="135"/>
                  </a:lnTo>
                  <a:lnTo>
                    <a:pt x="376" y="127"/>
                  </a:lnTo>
                  <a:lnTo>
                    <a:pt x="362" y="121"/>
                  </a:lnTo>
                  <a:lnTo>
                    <a:pt x="346" y="117"/>
                  </a:lnTo>
                  <a:lnTo>
                    <a:pt x="328" y="115"/>
                  </a:lnTo>
                  <a:lnTo>
                    <a:pt x="310" y="114"/>
                  </a:lnTo>
                  <a:close/>
                  <a:moveTo>
                    <a:pt x="596" y="436"/>
                  </a:moveTo>
                  <a:lnTo>
                    <a:pt x="159" y="436"/>
                  </a:lnTo>
                  <a:lnTo>
                    <a:pt x="159" y="436"/>
                  </a:lnTo>
                  <a:lnTo>
                    <a:pt x="160" y="461"/>
                  </a:lnTo>
                  <a:lnTo>
                    <a:pt x="163" y="484"/>
                  </a:lnTo>
                  <a:lnTo>
                    <a:pt x="167" y="506"/>
                  </a:lnTo>
                  <a:lnTo>
                    <a:pt x="172" y="527"/>
                  </a:lnTo>
                  <a:lnTo>
                    <a:pt x="178" y="546"/>
                  </a:lnTo>
                  <a:lnTo>
                    <a:pt x="185" y="563"/>
                  </a:lnTo>
                  <a:lnTo>
                    <a:pt x="194" y="579"/>
                  </a:lnTo>
                  <a:lnTo>
                    <a:pt x="202" y="594"/>
                  </a:lnTo>
                  <a:lnTo>
                    <a:pt x="202" y="594"/>
                  </a:lnTo>
                  <a:lnTo>
                    <a:pt x="214" y="606"/>
                  </a:lnTo>
                  <a:lnTo>
                    <a:pt x="226" y="617"/>
                  </a:lnTo>
                  <a:lnTo>
                    <a:pt x="239" y="627"/>
                  </a:lnTo>
                  <a:lnTo>
                    <a:pt x="255" y="635"/>
                  </a:lnTo>
                  <a:lnTo>
                    <a:pt x="273" y="641"/>
                  </a:lnTo>
                  <a:lnTo>
                    <a:pt x="293" y="646"/>
                  </a:lnTo>
                  <a:lnTo>
                    <a:pt x="313" y="648"/>
                  </a:lnTo>
                  <a:lnTo>
                    <a:pt x="336" y="649"/>
                  </a:lnTo>
                  <a:lnTo>
                    <a:pt x="336" y="649"/>
                  </a:lnTo>
                  <a:lnTo>
                    <a:pt x="359" y="648"/>
                  </a:lnTo>
                  <a:lnTo>
                    <a:pt x="383" y="646"/>
                  </a:lnTo>
                  <a:lnTo>
                    <a:pt x="407" y="641"/>
                  </a:lnTo>
                  <a:lnTo>
                    <a:pt x="432" y="636"/>
                  </a:lnTo>
                  <a:lnTo>
                    <a:pt x="432" y="636"/>
                  </a:lnTo>
                  <a:lnTo>
                    <a:pt x="458" y="627"/>
                  </a:lnTo>
                  <a:lnTo>
                    <a:pt x="484" y="617"/>
                  </a:lnTo>
                  <a:lnTo>
                    <a:pt x="511" y="606"/>
                  </a:lnTo>
                  <a:lnTo>
                    <a:pt x="538" y="591"/>
                  </a:lnTo>
                  <a:lnTo>
                    <a:pt x="538" y="591"/>
                  </a:lnTo>
                  <a:lnTo>
                    <a:pt x="547" y="601"/>
                  </a:lnTo>
                  <a:lnTo>
                    <a:pt x="555" y="611"/>
                  </a:lnTo>
                  <a:lnTo>
                    <a:pt x="563" y="622"/>
                  </a:lnTo>
                  <a:lnTo>
                    <a:pt x="569" y="633"/>
                  </a:lnTo>
                  <a:lnTo>
                    <a:pt x="575" y="646"/>
                  </a:lnTo>
                  <a:lnTo>
                    <a:pt x="580" y="661"/>
                  </a:lnTo>
                  <a:lnTo>
                    <a:pt x="584" y="674"/>
                  </a:lnTo>
                  <a:lnTo>
                    <a:pt x="587" y="690"/>
                  </a:lnTo>
                  <a:lnTo>
                    <a:pt x="587" y="690"/>
                  </a:lnTo>
                  <a:lnTo>
                    <a:pt x="557" y="710"/>
                  </a:lnTo>
                  <a:lnTo>
                    <a:pt x="526" y="727"/>
                  </a:lnTo>
                  <a:lnTo>
                    <a:pt x="492" y="741"/>
                  </a:lnTo>
                  <a:lnTo>
                    <a:pt x="458" y="753"/>
                  </a:lnTo>
                  <a:lnTo>
                    <a:pt x="423" y="762"/>
                  </a:lnTo>
                  <a:lnTo>
                    <a:pt x="386" y="768"/>
                  </a:lnTo>
                  <a:lnTo>
                    <a:pt x="348" y="773"/>
                  </a:lnTo>
                  <a:lnTo>
                    <a:pt x="309" y="774"/>
                  </a:lnTo>
                  <a:lnTo>
                    <a:pt x="309" y="774"/>
                  </a:lnTo>
                  <a:lnTo>
                    <a:pt x="288" y="773"/>
                  </a:lnTo>
                  <a:lnTo>
                    <a:pt x="267" y="772"/>
                  </a:lnTo>
                  <a:lnTo>
                    <a:pt x="248" y="769"/>
                  </a:lnTo>
                  <a:lnTo>
                    <a:pt x="230" y="767"/>
                  </a:lnTo>
                  <a:lnTo>
                    <a:pt x="212" y="762"/>
                  </a:lnTo>
                  <a:lnTo>
                    <a:pt x="195" y="757"/>
                  </a:lnTo>
                  <a:lnTo>
                    <a:pt x="180" y="751"/>
                  </a:lnTo>
                  <a:lnTo>
                    <a:pt x="165" y="743"/>
                  </a:lnTo>
                  <a:lnTo>
                    <a:pt x="165" y="743"/>
                  </a:lnTo>
                  <a:lnTo>
                    <a:pt x="151" y="736"/>
                  </a:lnTo>
                  <a:lnTo>
                    <a:pt x="137" y="727"/>
                  </a:lnTo>
                  <a:lnTo>
                    <a:pt x="125" y="717"/>
                  </a:lnTo>
                  <a:lnTo>
                    <a:pt x="112" y="707"/>
                  </a:lnTo>
                  <a:lnTo>
                    <a:pt x="100" y="698"/>
                  </a:lnTo>
                  <a:lnTo>
                    <a:pt x="90" y="686"/>
                  </a:lnTo>
                  <a:lnTo>
                    <a:pt x="79" y="674"/>
                  </a:lnTo>
                  <a:lnTo>
                    <a:pt x="70" y="662"/>
                  </a:lnTo>
                  <a:lnTo>
                    <a:pt x="70" y="662"/>
                  </a:lnTo>
                  <a:lnTo>
                    <a:pt x="62" y="648"/>
                  </a:lnTo>
                  <a:lnTo>
                    <a:pt x="53" y="635"/>
                  </a:lnTo>
                  <a:lnTo>
                    <a:pt x="46" y="620"/>
                  </a:lnTo>
                  <a:lnTo>
                    <a:pt x="38" y="604"/>
                  </a:lnTo>
                  <a:lnTo>
                    <a:pt x="32" y="589"/>
                  </a:lnTo>
                  <a:lnTo>
                    <a:pt x="27" y="572"/>
                  </a:lnTo>
                  <a:lnTo>
                    <a:pt x="17" y="537"/>
                  </a:lnTo>
                  <a:lnTo>
                    <a:pt x="17" y="537"/>
                  </a:lnTo>
                  <a:lnTo>
                    <a:pt x="10" y="501"/>
                  </a:lnTo>
                  <a:lnTo>
                    <a:pt x="5" y="463"/>
                  </a:lnTo>
                  <a:lnTo>
                    <a:pt x="1" y="423"/>
                  </a:lnTo>
                  <a:lnTo>
                    <a:pt x="0" y="382"/>
                  </a:lnTo>
                  <a:lnTo>
                    <a:pt x="0" y="382"/>
                  </a:lnTo>
                  <a:lnTo>
                    <a:pt x="1" y="342"/>
                  </a:lnTo>
                  <a:lnTo>
                    <a:pt x="5" y="302"/>
                  </a:lnTo>
                  <a:lnTo>
                    <a:pt x="12" y="265"/>
                  </a:lnTo>
                  <a:lnTo>
                    <a:pt x="21" y="228"/>
                  </a:lnTo>
                  <a:lnTo>
                    <a:pt x="21" y="228"/>
                  </a:lnTo>
                  <a:lnTo>
                    <a:pt x="26" y="211"/>
                  </a:lnTo>
                  <a:lnTo>
                    <a:pt x="32" y="195"/>
                  </a:lnTo>
                  <a:lnTo>
                    <a:pt x="38" y="179"/>
                  </a:lnTo>
                  <a:lnTo>
                    <a:pt x="46" y="163"/>
                  </a:lnTo>
                  <a:lnTo>
                    <a:pt x="54" y="148"/>
                  </a:lnTo>
                  <a:lnTo>
                    <a:pt x="62" y="135"/>
                  </a:lnTo>
                  <a:lnTo>
                    <a:pt x="72" y="121"/>
                  </a:lnTo>
                  <a:lnTo>
                    <a:pt x="80" y="107"/>
                  </a:lnTo>
                  <a:lnTo>
                    <a:pt x="80" y="107"/>
                  </a:lnTo>
                  <a:lnTo>
                    <a:pt x="91" y="95"/>
                  </a:lnTo>
                  <a:lnTo>
                    <a:pt x="101" y="84"/>
                  </a:lnTo>
                  <a:lnTo>
                    <a:pt x="112" y="73"/>
                  </a:lnTo>
                  <a:lnTo>
                    <a:pt x="125" y="63"/>
                  </a:lnTo>
                  <a:lnTo>
                    <a:pt x="137" y="53"/>
                  </a:lnTo>
                  <a:lnTo>
                    <a:pt x="149" y="44"/>
                  </a:lnTo>
                  <a:lnTo>
                    <a:pt x="163" y="36"/>
                  </a:lnTo>
                  <a:lnTo>
                    <a:pt x="176" y="28"/>
                  </a:lnTo>
                  <a:lnTo>
                    <a:pt x="176" y="28"/>
                  </a:lnTo>
                  <a:lnTo>
                    <a:pt x="191" y="22"/>
                  </a:lnTo>
                  <a:lnTo>
                    <a:pt x="206" y="16"/>
                  </a:lnTo>
                  <a:lnTo>
                    <a:pt x="221" y="11"/>
                  </a:lnTo>
                  <a:lnTo>
                    <a:pt x="237" y="6"/>
                  </a:lnTo>
                  <a:lnTo>
                    <a:pt x="253" y="4"/>
                  </a:lnTo>
                  <a:lnTo>
                    <a:pt x="270" y="1"/>
                  </a:lnTo>
                  <a:lnTo>
                    <a:pt x="288" y="0"/>
                  </a:lnTo>
                  <a:lnTo>
                    <a:pt x="305" y="0"/>
                  </a:lnTo>
                  <a:lnTo>
                    <a:pt x="305" y="0"/>
                  </a:lnTo>
                  <a:lnTo>
                    <a:pt x="322" y="0"/>
                  </a:lnTo>
                  <a:lnTo>
                    <a:pt x="339" y="1"/>
                  </a:lnTo>
                  <a:lnTo>
                    <a:pt x="357" y="2"/>
                  </a:lnTo>
                  <a:lnTo>
                    <a:pt x="373" y="5"/>
                  </a:lnTo>
                  <a:lnTo>
                    <a:pt x="388" y="9"/>
                  </a:lnTo>
                  <a:lnTo>
                    <a:pt x="404" y="14"/>
                  </a:lnTo>
                  <a:lnTo>
                    <a:pt x="418" y="19"/>
                  </a:lnTo>
                  <a:lnTo>
                    <a:pt x="432" y="23"/>
                  </a:lnTo>
                  <a:lnTo>
                    <a:pt x="432" y="23"/>
                  </a:lnTo>
                  <a:lnTo>
                    <a:pt x="446" y="30"/>
                  </a:lnTo>
                  <a:lnTo>
                    <a:pt x="459" y="37"/>
                  </a:lnTo>
                  <a:lnTo>
                    <a:pt x="471" y="44"/>
                  </a:lnTo>
                  <a:lnTo>
                    <a:pt x="484" y="52"/>
                  </a:lnTo>
                  <a:lnTo>
                    <a:pt x="495" y="60"/>
                  </a:lnTo>
                  <a:lnTo>
                    <a:pt x="506" y="69"/>
                  </a:lnTo>
                  <a:lnTo>
                    <a:pt x="527" y="90"/>
                  </a:lnTo>
                  <a:lnTo>
                    <a:pt x="527" y="90"/>
                  </a:lnTo>
                  <a:lnTo>
                    <a:pt x="536" y="100"/>
                  </a:lnTo>
                  <a:lnTo>
                    <a:pt x="546" y="111"/>
                  </a:lnTo>
                  <a:lnTo>
                    <a:pt x="553" y="123"/>
                  </a:lnTo>
                  <a:lnTo>
                    <a:pt x="560" y="136"/>
                  </a:lnTo>
                  <a:lnTo>
                    <a:pt x="568" y="149"/>
                  </a:lnTo>
                  <a:lnTo>
                    <a:pt x="574" y="163"/>
                  </a:lnTo>
                  <a:lnTo>
                    <a:pt x="586" y="191"/>
                  </a:lnTo>
                  <a:lnTo>
                    <a:pt x="586" y="191"/>
                  </a:lnTo>
                  <a:lnTo>
                    <a:pt x="595" y="221"/>
                  </a:lnTo>
                  <a:lnTo>
                    <a:pt x="601" y="252"/>
                  </a:lnTo>
                  <a:lnTo>
                    <a:pt x="605" y="285"/>
                  </a:lnTo>
                  <a:lnTo>
                    <a:pt x="606" y="319"/>
                  </a:lnTo>
                  <a:lnTo>
                    <a:pt x="606" y="319"/>
                  </a:lnTo>
                  <a:lnTo>
                    <a:pt x="606" y="348"/>
                  </a:lnTo>
                  <a:lnTo>
                    <a:pt x="604" y="378"/>
                  </a:lnTo>
                  <a:lnTo>
                    <a:pt x="604" y="378"/>
                  </a:lnTo>
                  <a:lnTo>
                    <a:pt x="601" y="406"/>
                  </a:lnTo>
                  <a:lnTo>
                    <a:pt x="596" y="4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013" dirty="0"/>
            </a:p>
          </p:txBody>
        </p:sp>
      </p:grpSp>
    </p:spTree>
    <p:extLst>
      <p:ext uri="{BB962C8B-B14F-4D97-AF65-F5344CB8AC3E}">
        <p14:creationId xmlns:p14="http://schemas.microsoft.com/office/powerpoint/2010/main" val="397287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etup </a:t>
            </a:r>
            <a:r>
              <a:rPr lang="en-US" dirty="0" err="1" smtClean="0"/>
              <a:t>mongodb</a:t>
            </a:r>
            <a:endParaRPr lang="uk-UA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Install </a:t>
            </a:r>
            <a:r>
              <a:rPr lang="en-US" dirty="0" err="1" smtClean="0"/>
              <a:t>mongodb</a:t>
            </a:r>
            <a:r>
              <a:rPr lang="en-US" dirty="0" smtClean="0"/>
              <a:t> instance</a:t>
            </a:r>
          </a:p>
          <a:p>
            <a:r>
              <a:rPr lang="en-US" dirty="0" smtClean="0"/>
              <a:t>Install “mongoose”</a:t>
            </a:r>
          </a:p>
          <a:p>
            <a:pPr lvl="1"/>
            <a:r>
              <a:rPr lang="en-US" dirty="0" err="1"/>
              <a:t>npm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--save </a:t>
            </a:r>
            <a:r>
              <a:rPr lang="en-US" dirty="0" smtClean="0"/>
              <a:t>mongoose</a:t>
            </a:r>
          </a:p>
          <a:p>
            <a:r>
              <a:rPr lang="en-US" dirty="0" smtClean="0"/>
              <a:t>Modify app.js</a:t>
            </a:r>
          </a:p>
          <a:p>
            <a:pPr lvl="1"/>
            <a:r>
              <a:rPr lang="en-US" dirty="0" err="1"/>
              <a:t>const</a:t>
            </a:r>
            <a:r>
              <a:rPr lang="en-US" dirty="0"/>
              <a:t> mongoose = require('mongoose');</a:t>
            </a:r>
          </a:p>
          <a:p>
            <a:pPr lvl="1"/>
            <a:r>
              <a:rPr lang="en-US" dirty="0" smtClean="0"/>
              <a:t>…</a:t>
            </a:r>
          </a:p>
          <a:p>
            <a:pPr lvl="1"/>
            <a:r>
              <a:rPr lang="en-US" dirty="0"/>
              <a:t>// </a:t>
            </a:r>
            <a:r>
              <a:rPr lang="en-US" dirty="0" err="1"/>
              <a:t>mongodb</a:t>
            </a:r>
            <a:r>
              <a:rPr lang="en-US" dirty="0"/>
              <a:t> connection</a:t>
            </a:r>
          </a:p>
          <a:p>
            <a:pPr lvl="1"/>
            <a:r>
              <a:rPr lang="en-US" dirty="0" err="1"/>
              <a:t>mongoose.connect</a:t>
            </a:r>
            <a:r>
              <a:rPr lang="en-US" dirty="0"/>
              <a:t>(</a:t>
            </a:r>
            <a:r>
              <a:rPr lang="en-US" dirty="0" err="1"/>
              <a:t>process.env.MONGO_URL</a:t>
            </a:r>
            <a:r>
              <a:rPr lang="en-US" dirty="0"/>
              <a:t> || '</a:t>
            </a:r>
            <a:r>
              <a:rPr lang="en-US" dirty="0" err="1"/>
              <a:t>mongodb</a:t>
            </a:r>
            <a:r>
              <a:rPr lang="en-US" dirty="0"/>
              <a:t>://localhost/menu');</a:t>
            </a:r>
          </a:p>
          <a:p>
            <a:pPr lvl="1"/>
            <a:r>
              <a:rPr lang="en-US" dirty="0"/>
              <a:t>let </a:t>
            </a:r>
            <a:r>
              <a:rPr lang="en-US" dirty="0" err="1"/>
              <a:t>db</a:t>
            </a:r>
            <a:r>
              <a:rPr lang="en-US" dirty="0"/>
              <a:t> = </a:t>
            </a:r>
            <a:r>
              <a:rPr lang="en-US" dirty="0" err="1"/>
              <a:t>mongoose.connection</a:t>
            </a:r>
            <a:r>
              <a:rPr lang="en-US" dirty="0"/>
              <a:t>;</a:t>
            </a:r>
          </a:p>
          <a:p>
            <a:pPr lvl="1"/>
            <a:r>
              <a:rPr lang="en-US" dirty="0" err="1"/>
              <a:t>db.on</a:t>
            </a:r>
            <a:r>
              <a:rPr lang="en-US" dirty="0"/>
              <a:t>('error', </a:t>
            </a:r>
            <a:r>
              <a:rPr lang="en-US" dirty="0" err="1"/>
              <a:t>console.error.bind</a:t>
            </a:r>
            <a:r>
              <a:rPr lang="en-US" dirty="0"/>
              <a:t>(console, 'connection error:'));</a:t>
            </a:r>
          </a:p>
          <a:p>
            <a:pPr lvl="1"/>
            <a:r>
              <a:rPr lang="en-US" dirty="0" err="1"/>
              <a:t>db.once</a:t>
            </a:r>
            <a:r>
              <a:rPr lang="en-US" dirty="0"/>
              <a:t>('open', function() {</a:t>
            </a:r>
          </a:p>
          <a:p>
            <a:pPr lvl="1"/>
            <a:r>
              <a:rPr lang="en-US" dirty="0"/>
              <a:t>    console.log("Menu DB connected.");</a:t>
            </a:r>
          </a:p>
          <a:p>
            <a:pPr lvl="1"/>
            <a:r>
              <a:rPr lang="en-US" dirty="0"/>
              <a:t>});</a:t>
            </a:r>
          </a:p>
          <a:p>
            <a:pPr lvl="1"/>
            <a:r>
              <a:rPr lang="en-US" dirty="0" smtClean="0"/>
              <a:t> </a:t>
            </a:r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52015035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del and Schema</a:t>
            </a:r>
            <a:endParaRPr lang="uk-UA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Create models\menu-model.js</a:t>
            </a:r>
          </a:p>
          <a:p>
            <a:r>
              <a:rPr lang="en-US" dirty="0" smtClean="0"/>
              <a:t>menu-model.js</a:t>
            </a:r>
          </a:p>
          <a:p>
            <a:pPr lvl="1"/>
            <a:r>
              <a:rPr lang="en-US" dirty="0" err="1"/>
              <a:t>const</a:t>
            </a:r>
            <a:r>
              <a:rPr lang="en-US" dirty="0"/>
              <a:t> mongoose = require('mongoose'),</a:t>
            </a:r>
          </a:p>
          <a:p>
            <a:pPr lvl="1"/>
            <a:r>
              <a:rPr lang="en-US" dirty="0"/>
              <a:t>    Schema = </a:t>
            </a:r>
            <a:r>
              <a:rPr lang="en-US" dirty="0" err="1"/>
              <a:t>mongoose.Schema</a:t>
            </a:r>
            <a:r>
              <a:rPr lang="en-US" dirty="0"/>
              <a:t>;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let </a:t>
            </a:r>
            <a:r>
              <a:rPr lang="en-US" dirty="0" err="1"/>
              <a:t>menuModel</a:t>
            </a:r>
            <a:r>
              <a:rPr lang="en-US" dirty="0"/>
              <a:t> = new Schema({</a:t>
            </a:r>
          </a:p>
          <a:p>
            <a:pPr lvl="1"/>
            <a:r>
              <a:rPr lang="en-US" dirty="0"/>
              <a:t>    Place: { type: String },</a:t>
            </a:r>
          </a:p>
          <a:p>
            <a:pPr lvl="1"/>
            <a:r>
              <a:rPr lang="en-US" dirty="0"/>
              <a:t>    </a:t>
            </a:r>
            <a:r>
              <a:rPr lang="en-US" dirty="0" err="1"/>
              <a:t>OpeningHours</a:t>
            </a:r>
            <a:r>
              <a:rPr lang="en-US" dirty="0"/>
              <a:t>: { type: String },</a:t>
            </a:r>
          </a:p>
          <a:p>
            <a:pPr lvl="1"/>
            <a:r>
              <a:rPr lang="en-US" dirty="0"/>
              <a:t>    Dish: { type: String },</a:t>
            </a:r>
          </a:p>
          <a:p>
            <a:pPr lvl="1"/>
            <a:r>
              <a:rPr lang="en-US" dirty="0"/>
              <a:t>    Price: { type: String }</a:t>
            </a:r>
          </a:p>
          <a:p>
            <a:pPr lvl="1"/>
            <a:r>
              <a:rPr lang="en-US" dirty="0"/>
              <a:t>});</a:t>
            </a:r>
          </a:p>
          <a:p>
            <a:pPr lvl="1"/>
            <a:endParaRPr lang="en-US" dirty="0"/>
          </a:p>
          <a:p>
            <a:pPr lvl="1"/>
            <a:r>
              <a:rPr lang="en-US" dirty="0" err="1"/>
              <a:t>module.exports</a:t>
            </a:r>
            <a:r>
              <a:rPr lang="en-US" dirty="0"/>
              <a:t> = </a:t>
            </a:r>
            <a:r>
              <a:rPr lang="en-US" dirty="0" err="1"/>
              <a:t>mongoose.model</a:t>
            </a:r>
            <a:r>
              <a:rPr lang="en-US" dirty="0"/>
              <a:t>('Menu', </a:t>
            </a:r>
            <a:r>
              <a:rPr lang="en-US" dirty="0" err="1"/>
              <a:t>menuModel</a:t>
            </a:r>
            <a:r>
              <a:rPr lang="en-US" dirty="0"/>
              <a:t>);</a:t>
            </a:r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4233590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erequisites</a:t>
            </a:r>
            <a:endParaRPr lang="uk-UA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 smtClean="0"/>
              <a:t>Git</a:t>
            </a:r>
            <a:endParaRPr lang="en-US" dirty="0" smtClean="0"/>
          </a:p>
          <a:p>
            <a:pPr lvl="1"/>
            <a:r>
              <a:rPr lang="en-US" dirty="0" smtClean="0"/>
              <a:t>Setup </a:t>
            </a:r>
            <a:r>
              <a:rPr lang="en-US" dirty="0" err="1" smtClean="0"/>
              <a:t>git</a:t>
            </a:r>
            <a:r>
              <a:rPr lang="en-US" dirty="0" smtClean="0"/>
              <a:t>: </a:t>
            </a:r>
            <a:r>
              <a:rPr lang="en-US" dirty="0" smtClean="0">
                <a:hlinkClick r:id="rId2"/>
              </a:rPr>
              <a:t>https</a:t>
            </a:r>
            <a:r>
              <a:rPr lang="en-US" dirty="0">
                <a:hlinkClick r:id="rId2"/>
              </a:rPr>
              <a:t>://</a:t>
            </a:r>
            <a:r>
              <a:rPr lang="en-US" dirty="0" smtClean="0">
                <a:hlinkClick r:id="rId2"/>
              </a:rPr>
              <a:t>git-scm.com/downloads</a:t>
            </a:r>
            <a:endParaRPr lang="en-US" dirty="0" smtClean="0"/>
          </a:p>
          <a:p>
            <a:pPr lvl="1"/>
            <a:r>
              <a:rPr lang="en-US" dirty="0" smtClean="0"/>
              <a:t>Register/</a:t>
            </a:r>
            <a:r>
              <a:rPr lang="en-US" dirty="0" err="1" smtClean="0"/>
              <a:t>Sigin</a:t>
            </a:r>
            <a:r>
              <a:rPr lang="en-US" dirty="0" smtClean="0"/>
              <a:t> GitHub: </a:t>
            </a:r>
            <a:r>
              <a:rPr lang="en-US" dirty="0" smtClean="0">
                <a:hlinkClick r:id="rId3"/>
              </a:rPr>
              <a:t>https</a:t>
            </a:r>
            <a:r>
              <a:rPr lang="en-US" dirty="0">
                <a:hlinkClick r:id="rId3"/>
              </a:rPr>
              <a:t>://</a:t>
            </a:r>
            <a:r>
              <a:rPr lang="en-US" dirty="0" smtClean="0">
                <a:hlinkClick r:id="rId3"/>
              </a:rPr>
              <a:t>github.com</a:t>
            </a:r>
            <a:endParaRPr lang="en-US" dirty="0" smtClean="0"/>
          </a:p>
          <a:p>
            <a:r>
              <a:rPr lang="en-US" dirty="0" smtClean="0"/>
              <a:t>Node.js 8.12</a:t>
            </a:r>
            <a:endParaRPr lang="ru-RU" dirty="0" smtClean="0"/>
          </a:p>
          <a:p>
            <a:pPr lvl="1"/>
            <a:r>
              <a:rPr lang="en-US" dirty="0" smtClean="0">
                <a:hlinkClick r:id="rId4"/>
              </a:rPr>
              <a:t>https</a:t>
            </a:r>
            <a:r>
              <a:rPr lang="en-US" dirty="0">
                <a:hlinkClick r:id="rId4"/>
              </a:rPr>
              <a:t>://</a:t>
            </a:r>
            <a:r>
              <a:rPr lang="en-US" dirty="0" smtClean="0">
                <a:hlinkClick r:id="rId4"/>
              </a:rPr>
              <a:t>nodejs.org</a:t>
            </a:r>
            <a:endParaRPr lang="en-US" dirty="0" smtClean="0"/>
          </a:p>
          <a:p>
            <a:r>
              <a:rPr lang="en-US" dirty="0" smtClean="0"/>
              <a:t>Bot Framework Emulator</a:t>
            </a:r>
          </a:p>
          <a:p>
            <a:pPr lvl="1"/>
            <a:r>
              <a:rPr lang="en-US" dirty="0">
                <a:hlinkClick r:id="rId5"/>
              </a:rPr>
              <a:t>https://</a:t>
            </a:r>
            <a:r>
              <a:rPr lang="en-US" dirty="0" smtClean="0">
                <a:hlinkClick r:id="rId5"/>
              </a:rPr>
              <a:t>github.com/Microsoft/BotFramework-Emulator/releases</a:t>
            </a:r>
            <a:endParaRPr lang="en-US" dirty="0" smtClean="0"/>
          </a:p>
          <a:p>
            <a:r>
              <a:rPr lang="en-US" dirty="0" smtClean="0"/>
              <a:t>Visual Studio Code</a:t>
            </a:r>
          </a:p>
          <a:p>
            <a:pPr lvl="1"/>
            <a:r>
              <a:rPr lang="en-US" dirty="0">
                <a:hlinkClick r:id="rId6"/>
              </a:rPr>
              <a:t>https://</a:t>
            </a:r>
            <a:r>
              <a:rPr lang="en-US" dirty="0" smtClean="0">
                <a:hlinkClick r:id="rId6"/>
              </a:rPr>
              <a:t>code.visualstudio.com/download</a:t>
            </a:r>
            <a:endParaRPr lang="en-US" dirty="0" smtClean="0"/>
          </a:p>
          <a:p>
            <a:r>
              <a:rPr lang="en-US" dirty="0" err="1" smtClean="0"/>
              <a:t>Mongodb</a:t>
            </a:r>
            <a:endParaRPr lang="en-US" dirty="0" smtClean="0"/>
          </a:p>
          <a:p>
            <a:pPr lvl="1"/>
            <a:r>
              <a:rPr lang="en-US" dirty="0">
                <a:hlinkClick r:id="rId7"/>
              </a:rPr>
              <a:t>https://www.mongodb.com</a:t>
            </a:r>
            <a:r>
              <a:rPr lang="en-US" dirty="0" smtClean="0">
                <a:hlinkClick r:id="rId7"/>
              </a:rPr>
              <a:t>/</a:t>
            </a:r>
            <a:endParaRPr lang="en-US" dirty="0"/>
          </a:p>
          <a:p>
            <a:r>
              <a:rPr lang="en-US" dirty="0" smtClean="0"/>
              <a:t>Azure</a:t>
            </a:r>
            <a:endParaRPr lang="en-US" dirty="0" smtClean="0"/>
          </a:p>
          <a:p>
            <a:pPr lvl="1"/>
            <a:r>
              <a:rPr lang="en-US" dirty="0" smtClean="0">
                <a:hlinkClick r:id="rId8"/>
              </a:rPr>
              <a:t>https://portal.azure.com</a:t>
            </a:r>
            <a:endParaRPr lang="en-US" dirty="0" smtClean="0"/>
          </a:p>
          <a:p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44349884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Init</a:t>
            </a:r>
            <a:r>
              <a:rPr lang="en-US" dirty="0" smtClean="0"/>
              <a:t> DB</a:t>
            </a:r>
            <a:endParaRPr lang="uk-UA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Init-db.js</a:t>
            </a:r>
            <a:endParaRPr lang="uk-UA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17253" y="442450"/>
            <a:ext cx="4448725" cy="4423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70753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Query DB and format output</a:t>
            </a:r>
            <a:endParaRPr lang="uk-UA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menu-queries.js</a:t>
            </a:r>
            <a:endParaRPr lang="uk-UA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96621" y="709815"/>
            <a:ext cx="4689989" cy="37571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000397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Query menu information</a:t>
            </a:r>
            <a:endParaRPr lang="uk-UA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Modify app.js</a:t>
            </a:r>
          </a:p>
          <a:p>
            <a:pPr lvl="1"/>
            <a:r>
              <a:rPr lang="en-US" dirty="0" err="1"/>
              <a:t>const</a:t>
            </a:r>
            <a:r>
              <a:rPr lang="en-US" dirty="0"/>
              <a:t> Menu = require('./</a:t>
            </a:r>
            <a:r>
              <a:rPr lang="en-US" dirty="0" smtClean="0"/>
              <a:t>models/menu-model.js');</a:t>
            </a:r>
          </a:p>
          <a:p>
            <a:pPr lvl="1"/>
            <a:r>
              <a:rPr lang="en-US" dirty="0" err="1"/>
              <a:t>const</a:t>
            </a:r>
            <a:r>
              <a:rPr lang="en-US" dirty="0"/>
              <a:t> queries = require('./queries/menu-queries');</a:t>
            </a:r>
          </a:p>
          <a:p>
            <a:pPr lvl="1"/>
            <a:r>
              <a:rPr lang="en-US" dirty="0" smtClean="0"/>
              <a:t>…</a:t>
            </a:r>
          </a:p>
          <a:p>
            <a:pPr lvl="1"/>
            <a:r>
              <a:rPr lang="en-US" dirty="0"/>
              <a:t>if (</a:t>
            </a:r>
            <a:r>
              <a:rPr lang="en-US" dirty="0" err="1"/>
              <a:t>session.userData.profile.location</a:t>
            </a:r>
            <a:r>
              <a:rPr lang="en-US" dirty="0"/>
              <a:t>) {</a:t>
            </a:r>
          </a:p>
          <a:p>
            <a:pPr lvl="1"/>
            <a:r>
              <a:rPr lang="en-US" dirty="0"/>
              <a:t>            //</a:t>
            </a:r>
            <a:r>
              <a:rPr lang="en-US" dirty="0" err="1"/>
              <a:t>session.send</a:t>
            </a:r>
            <a:r>
              <a:rPr lang="en-US" dirty="0"/>
              <a:t>("Menu for: " + </a:t>
            </a:r>
            <a:r>
              <a:rPr lang="en-US" dirty="0" err="1"/>
              <a:t>session.userData.profile.location</a:t>
            </a:r>
            <a:r>
              <a:rPr lang="en-US" dirty="0"/>
              <a:t>);</a:t>
            </a:r>
          </a:p>
          <a:p>
            <a:pPr lvl="1"/>
            <a:r>
              <a:rPr lang="en-US" dirty="0"/>
              <a:t>            </a:t>
            </a:r>
            <a:r>
              <a:rPr lang="en-US" dirty="0" err="1"/>
              <a:t>queries.findMenu</a:t>
            </a:r>
            <a:r>
              <a:rPr lang="en-US" dirty="0"/>
              <a:t>(Menu, </a:t>
            </a:r>
            <a:r>
              <a:rPr lang="en-US" dirty="0" err="1"/>
              <a:t>session.userData.profile.location</a:t>
            </a:r>
            <a:r>
              <a:rPr lang="en-US" dirty="0"/>
              <a:t>)</a:t>
            </a:r>
          </a:p>
          <a:p>
            <a:pPr lvl="1"/>
            <a:r>
              <a:rPr lang="en-US" dirty="0"/>
              <a:t>            .then( (result) =&gt; {</a:t>
            </a:r>
          </a:p>
          <a:p>
            <a:pPr lvl="1"/>
            <a:r>
              <a:rPr lang="en-US" dirty="0"/>
              <a:t>                </a:t>
            </a:r>
            <a:r>
              <a:rPr lang="en-US" dirty="0" err="1"/>
              <a:t>session.send</a:t>
            </a:r>
            <a:r>
              <a:rPr lang="en-US" dirty="0"/>
              <a:t>(</a:t>
            </a:r>
            <a:r>
              <a:rPr lang="en-US" dirty="0" err="1"/>
              <a:t>queries.formatMenuItems</a:t>
            </a:r>
            <a:r>
              <a:rPr lang="en-US" dirty="0"/>
              <a:t>(result));</a:t>
            </a:r>
          </a:p>
          <a:p>
            <a:pPr lvl="1"/>
            <a:r>
              <a:rPr lang="en-US" dirty="0"/>
              <a:t>            })</a:t>
            </a:r>
          </a:p>
          <a:p>
            <a:pPr lvl="1"/>
            <a:r>
              <a:rPr lang="en-US" dirty="0"/>
              <a:t>            .catch( (err) =&gt; {</a:t>
            </a:r>
          </a:p>
          <a:p>
            <a:pPr lvl="1"/>
            <a:r>
              <a:rPr lang="en-US" dirty="0"/>
              <a:t>                </a:t>
            </a:r>
            <a:r>
              <a:rPr lang="en-US" dirty="0" err="1"/>
              <a:t>session.send</a:t>
            </a:r>
            <a:r>
              <a:rPr lang="en-US" dirty="0"/>
              <a:t>(err)</a:t>
            </a:r>
          </a:p>
          <a:p>
            <a:pPr lvl="1"/>
            <a:r>
              <a:rPr lang="en-US" dirty="0"/>
              <a:t>            });</a:t>
            </a:r>
          </a:p>
          <a:p>
            <a:pPr lvl="1"/>
            <a:r>
              <a:rPr lang="en-US" dirty="0"/>
              <a:t>        }</a:t>
            </a:r>
          </a:p>
          <a:p>
            <a:pPr lvl="1"/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8325867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</a:t>
            </a:r>
            <a:endParaRPr lang="uk-UA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74955" y="907055"/>
            <a:ext cx="7231164" cy="35393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646567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3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700"/>
          <a:stretch/>
        </p:blipFill>
        <p:spPr bwMode="auto">
          <a:xfrm>
            <a:off x="0" y="-10302"/>
            <a:ext cx="9144000" cy="51641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1547580" y="2427734"/>
            <a:ext cx="604884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uk-UA" sz="3600" dirty="0" smtClean="0">
                <a:solidFill>
                  <a:schemeClr val="bg1"/>
                </a:solidFill>
              </a:rPr>
              <a:t>Дякуємо за увагу</a:t>
            </a:r>
            <a:r>
              <a:rPr lang="en-US" sz="3600" dirty="0" smtClean="0">
                <a:solidFill>
                  <a:schemeClr val="bg1"/>
                </a:solidFill>
              </a:rPr>
              <a:t>!</a:t>
            </a:r>
            <a:endParaRPr lang="uk-UA" sz="3600" dirty="0">
              <a:solidFill>
                <a:schemeClr val="bg1"/>
              </a:solidFill>
            </a:endParaRPr>
          </a:p>
        </p:txBody>
      </p:sp>
      <p:pic>
        <p:nvPicPr>
          <p:cNvPr id="4" name="Picture 3" descr="D:\Work\! works in progress\141121-infopulse-presentation-lean\temp\! PNG\ip_lean_007_01_logo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56589" y="896070"/>
            <a:ext cx="5230823" cy="13516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90036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3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700"/>
          <a:stretch/>
        </p:blipFill>
        <p:spPr bwMode="auto">
          <a:xfrm>
            <a:off x="0" y="-10302"/>
            <a:ext cx="9144000" cy="51641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22508" y="2939094"/>
            <a:ext cx="288000" cy="288000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1547580" y="2409733"/>
            <a:ext cx="60488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Наші контакти</a:t>
            </a:r>
            <a:r>
              <a: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:</a:t>
            </a:r>
            <a:endParaRPr kumimoji="0" lang="uk-UA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6" name="Picture 5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853213" y="3715333"/>
            <a:ext cx="476663" cy="4766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279662" y="3715333"/>
            <a:ext cx="476663" cy="4766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672838" y="3715333"/>
            <a:ext cx="476663" cy="4766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Прямоугольник 17"/>
          <p:cNvSpPr/>
          <p:nvPr/>
        </p:nvSpPr>
        <p:spPr>
          <a:xfrm>
            <a:off x="4427984" y="3217521"/>
            <a:ext cx="2249958" cy="2482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spcBef>
                <a:spcPts val="900"/>
              </a:spcBef>
              <a:defRPr/>
            </a:pPr>
            <a:r>
              <a:rPr kumimoji="0" lang="uk-UA" sz="1013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Вул. Польова, </a:t>
            </a:r>
            <a:r>
              <a:rPr kumimoji="0" lang="en-US" sz="1013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4,</a:t>
            </a:r>
            <a:r>
              <a:rPr kumimoji="0" lang="uk-UA" sz="1013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lang="uk-UA" sz="1013" dirty="0" smtClean="0">
                <a:solidFill>
                  <a:srgbClr val="FFFFFF"/>
                </a:solidFill>
              </a:rPr>
              <a:t>Київ, Україна, </a:t>
            </a:r>
            <a:r>
              <a:rPr kumimoji="0" lang="en-US" sz="1013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03056</a:t>
            </a:r>
            <a:endParaRPr kumimoji="0" lang="en-US" sz="1013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615893" y="3227094"/>
            <a:ext cx="2106234" cy="2482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13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+38 044 585-25-00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6480422" y="3217521"/>
            <a:ext cx="2106234" cy="2482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13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fo@infopulse.com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2303748" y="4177122"/>
            <a:ext cx="1575590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/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fopulseGlobal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3698452" y="4177122"/>
            <a:ext cx="1575590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/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fopulseGlobal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5102644" y="4177122"/>
            <a:ext cx="1575590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/company/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fopulse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6" name="Picture 15" descr="D:\Work\! works in progress\141121-infopulse-presentation-lean\temp\! PNG\ip_lean_007_01_logo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56589" y="896070"/>
            <a:ext cx="5230823" cy="13516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 descr="D:\WIP\160324-ipm-presentation-pace\temp\png\160406-ipm-presentation-pace008_s17_ico01_adress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4700" y="2848900"/>
            <a:ext cx="368621" cy="3686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 descr="D:\WIP\160324-ipm-presentation-pace\temp\png\160406-ipm-presentation-pace008_s17_ico02_phone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9229" y="2881819"/>
            <a:ext cx="368621" cy="3686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D:\WIP\160324-ipm-presentation-pace\temp\png\160406-ipm-presentation-pace008_s17_ico03_mail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43729" y="2813225"/>
            <a:ext cx="404297" cy="4042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Прямоугольник 24"/>
          <p:cNvSpPr/>
          <p:nvPr/>
        </p:nvSpPr>
        <p:spPr>
          <a:xfrm>
            <a:off x="2401406" y="3212938"/>
            <a:ext cx="2106234" cy="2482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13" dirty="0" smtClean="0">
                <a:solidFill>
                  <a:srgbClr val="FFFFFF"/>
                </a:solidFill>
                <a:latin typeface="Calibri"/>
              </a:rPr>
              <a:t>www</a:t>
            </a:r>
            <a:r>
              <a:rPr lang="en-US" sz="1013" dirty="0">
                <a:solidFill>
                  <a:srgbClr val="FFFFFF"/>
                </a:solidFill>
                <a:latin typeface="Calibri"/>
              </a:rPr>
              <a:t>.</a:t>
            </a:r>
            <a:r>
              <a:rPr lang="en-US" sz="1013" dirty="0" smtClean="0">
                <a:solidFill>
                  <a:srgbClr val="FFFFFF"/>
                </a:solidFill>
                <a:latin typeface="Calibri"/>
              </a:rPr>
              <a:t>infopulse.com</a:t>
            </a:r>
            <a:endParaRPr kumimoji="0" lang="en-US" sz="1013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01363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uk-UA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Bot architecture</a:t>
            </a:r>
          </a:p>
          <a:p>
            <a:r>
              <a:rPr lang="en-US" dirty="0" smtClean="0"/>
              <a:t>Console Bot</a:t>
            </a:r>
          </a:p>
          <a:p>
            <a:r>
              <a:rPr lang="en-US" dirty="0" smtClean="0"/>
              <a:t>Echo Bot</a:t>
            </a:r>
          </a:p>
          <a:p>
            <a:r>
              <a:rPr lang="en-US" dirty="0" smtClean="0"/>
              <a:t>Deploy to Azure</a:t>
            </a:r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83865279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ot architecture</a:t>
            </a:r>
            <a:endParaRPr lang="uk-UA" dirty="0"/>
          </a:p>
        </p:txBody>
      </p:sp>
      <p:pic>
        <p:nvPicPr>
          <p:cNvPr id="2" name="Content Placeholder 1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1741" y="1073150"/>
            <a:ext cx="7521142" cy="3394075"/>
          </a:xfrm>
        </p:spPr>
      </p:pic>
    </p:spTree>
    <p:extLst>
      <p:ext uri="{BB962C8B-B14F-4D97-AF65-F5344CB8AC3E}">
        <p14:creationId xmlns:p14="http://schemas.microsoft.com/office/powerpoint/2010/main" val="32229727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ot: </a:t>
            </a:r>
            <a:r>
              <a:rPr lang="en-US" dirty="0" err="1" smtClean="0"/>
              <a:t>init</a:t>
            </a:r>
            <a:endParaRPr lang="uk-UA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530475" y="1072515"/>
            <a:ext cx="8003232" cy="3386413"/>
          </a:xfrm>
        </p:spPr>
        <p:txBody>
          <a:bodyPr/>
          <a:lstStyle/>
          <a:p>
            <a:r>
              <a:rPr lang="en-US" dirty="0" smtClean="0"/>
              <a:t>Create </a:t>
            </a:r>
            <a:r>
              <a:rPr lang="en-US" dirty="0" err="1" smtClean="0"/>
              <a:t>git</a:t>
            </a:r>
            <a:r>
              <a:rPr lang="en-US" dirty="0" smtClean="0"/>
              <a:t> repo </a:t>
            </a:r>
            <a:r>
              <a:rPr lang="en-US" dirty="0" err="1" smtClean="0"/>
              <a:t>Botlab</a:t>
            </a:r>
            <a:endParaRPr lang="en-US" dirty="0" smtClean="0"/>
          </a:p>
          <a:p>
            <a:pPr lvl="1"/>
            <a:r>
              <a:rPr lang="en-US" dirty="0" smtClean="0"/>
              <a:t>Click “Repositories” then “New”</a:t>
            </a:r>
            <a:endParaRPr lang="en-US" dirty="0" smtClean="0"/>
          </a:p>
          <a:p>
            <a:r>
              <a:rPr lang="en-US" dirty="0" smtClean="0"/>
              <a:t>Create folder</a:t>
            </a:r>
          </a:p>
          <a:p>
            <a:pPr lvl="1"/>
            <a:r>
              <a:rPr lang="en-US" dirty="0"/>
              <a:t>C:\Users\valerii.poliakov\Documents\workshop</a:t>
            </a:r>
            <a:endParaRPr lang="en-US" dirty="0" smtClean="0"/>
          </a:p>
          <a:p>
            <a:r>
              <a:rPr lang="en-US" dirty="0" smtClean="0"/>
              <a:t>Run “</a:t>
            </a:r>
            <a:r>
              <a:rPr lang="en-US" dirty="0" err="1" smtClean="0"/>
              <a:t>cmd</a:t>
            </a:r>
            <a:r>
              <a:rPr lang="en-US" dirty="0" smtClean="0"/>
              <a:t>” and navigate to created folder</a:t>
            </a:r>
          </a:p>
          <a:p>
            <a:r>
              <a:rPr lang="en-US" dirty="0" smtClean="0"/>
              <a:t>Clone from </a:t>
            </a:r>
            <a:r>
              <a:rPr lang="en-US" dirty="0" err="1" smtClean="0"/>
              <a:t>git</a:t>
            </a:r>
            <a:r>
              <a:rPr lang="en-US" dirty="0" smtClean="0"/>
              <a:t>:</a:t>
            </a:r>
          </a:p>
          <a:p>
            <a:pPr lvl="1"/>
            <a:r>
              <a:rPr lang="en-US" dirty="0" err="1"/>
              <a:t>git</a:t>
            </a:r>
            <a:r>
              <a:rPr lang="en-US" dirty="0"/>
              <a:t> clone </a:t>
            </a:r>
            <a:r>
              <a:rPr lang="en-US" dirty="0">
                <a:hlinkClick r:id="rId3"/>
              </a:rPr>
              <a:t>https://</a:t>
            </a:r>
            <a:r>
              <a:rPr lang="en-US" dirty="0" smtClean="0">
                <a:hlinkClick r:id="rId3"/>
              </a:rPr>
              <a:t>github.com/Valerii-Poliakov/BotLab.git</a:t>
            </a:r>
            <a:endParaRPr lang="en-US" dirty="0" smtClean="0"/>
          </a:p>
          <a:p>
            <a:r>
              <a:rPr lang="en-US" dirty="0" smtClean="0"/>
              <a:t>Navigate to </a:t>
            </a:r>
            <a:r>
              <a:rPr lang="en-US" dirty="0" err="1" smtClean="0"/>
              <a:t>BotLab</a:t>
            </a:r>
            <a:r>
              <a:rPr lang="en-US" dirty="0" smtClean="0"/>
              <a:t>  folder</a:t>
            </a:r>
            <a:endParaRPr lang="ru-RU" dirty="0" smtClean="0"/>
          </a:p>
          <a:p>
            <a:r>
              <a:rPr lang="en-US" dirty="0" smtClean="0"/>
              <a:t>Create .</a:t>
            </a:r>
            <a:r>
              <a:rPr lang="en-US" dirty="0" err="1" smtClean="0"/>
              <a:t>gitignore</a:t>
            </a:r>
            <a:r>
              <a:rPr lang="en-US" dirty="0" smtClean="0"/>
              <a:t> file and add to the GitHub</a:t>
            </a:r>
          </a:p>
          <a:p>
            <a:pPr lvl="1"/>
            <a:r>
              <a:rPr lang="en-US" dirty="0" err="1"/>
              <a:t>git</a:t>
            </a:r>
            <a:r>
              <a:rPr lang="en-US" dirty="0"/>
              <a:t> </a:t>
            </a:r>
            <a:r>
              <a:rPr lang="en-US" dirty="0" smtClean="0"/>
              <a:t>add</a:t>
            </a:r>
            <a:r>
              <a:rPr lang="en-US" dirty="0"/>
              <a:t> </a:t>
            </a:r>
            <a:r>
              <a:rPr lang="en-US" dirty="0" smtClean="0"/>
              <a:t>.</a:t>
            </a:r>
            <a:r>
              <a:rPr lang="en-US" dirty="0" err="1" smtClean="0"/>
              <a:t>gitignore</a:t>
            </a:r>
            <a:endParaRPr lang="en-US" dirty="0" smtClean="0"/>
          </a:p>
          <a:p>
            <a:pPr lvl="1"/>
            <a:r>
              <a:rPr lang="en-US" dirty="0" err="1" smtClean="0"/>
              <a:t>git</a:t>
            </a:r>
            <a:r>
              <a:rPr lang="en-US" dirty="0" smtClean="0"/>
              <a:t> commit </a:t>
            </a:r>
            <a:r>
              <a:rPr lang="en-US" dirty="0"/>
              <a:t>-m "</a:t>
            </a:r>
            <a:r>
              <a:rPr lang="en-US" dirty="0" err="1"/>
              <a:t>gitignore</a:t>
            </a:r>
            <a:r>
              <a:rPr lang="en-US" dirty="0"/>
              <a:t> added"</a:t>
            </a:r>
            <a:endParaRPr lang="en-US" dirty="0" smtClean="0"/>
          </a:p>
          <a:p>
            <a:pPr lvl="1"/>
            <a:r>
              <a:rPr lang="en-US" dirty="0" err="1" smtClean="0"/>
              <a:t>git</a:t>
            </a:r>
            <a:r>
              <a:rPr lang="en-US" dirty="0" smtClean="0"/>
              <a:t> push</a:t>
            </a:r>
          </a:p>
          <a:p>
            <a:r>
              <a:rPr lang="en-US" dirty="0" smtClean="0"/>
              <a:t>Run following </a:t>
            </a:r>
            <a:r>
              <a:rPr lang="en-US" dirty="0" err="1" smtClean="0"/>
              <a:t>npm</a:t>
            </a:r>
            <a:r>
              <a:rPr lang="en-US" dirty="0" smtClean="0"/>
              <a:t> command</a:t>
            </a:r>
          </a:p>
          <a:p>
            <a:pPr lvl="1"/>
            <a:r>
              <a:rPr lang="en-US" dirty="0" err="1" smtClean="0"/>
              <a:t>npm</a:t>
            </a:r>
            <a:r>
              <a:rPr lang="en-US" dirty="0" smtClean="0"/>
              <a:t> </a:t>
            </a:r>
            <a:r>
              <a:rPr lang="en-US" dirty="0" err="1" smtClean="0"/>
              <a:t>init</a:t>
            </a:r>
            <a:endParaRPr lang="en-US" dirty="0" smtClean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21161" y="514350"/>
            <a:ext cx="4119255" cy="1337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353518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.</a:t>
            </a:r>
            <a:r>
              <a:rPr lang="en-US" dirty="0" err="1" smtClean="0"/>
              <a:t>gitignore</a:t>
            </a:r>
            <a:endParaRPr lang="uk-UA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# Dependency directories</a:t>
            </a:r>
          </a:p>
          <a:p>
            <a:pPr marL="0" indent="0">
              <a:buNone/>
            </a:pPr>
            <a:r>
              <a:rPr lang="en-US" dirty="0" err="1"/>
              <a:t>node_modules</a:t>
            </a:r>
            <a:r>
              <a:rPr lang="en-US" dirty="0"/>
              <a:t>/</a:t>
            </a:r>
          </a:p>
          <a:p>
            <a:pPr marL="0" indent="0">
              <a:buNone/>
            </a:pPr>
            <a:r>
              <a:rPr lang="en-US" dirty="0" err="1" smtClean="0"/>
              <a:t>jspm_packages</a:t>
            </a:r>
            <a:r>
              <a:rPr lang="en-US" dirty="0" smtClean="0"/>
              <a:t>/</a:t>
            </a:r>
            <a:endParaRPr lang="ru-RU" dirty="0" smtClean="0"/>
          </a:p>
          <a:p>
            <a:pPr marL="0" indent="0">
              <a:buNone/>
            </a:pPr>
            <a:endParaRPr lang="ru-RU" dirty="0"/>
          </a:p>
          <a:p>
            <a:pPr marL="0" indent="0">
              <a:buNone/>
            </a:pPr>
            <a:r>
              <a:rPr lang="en-US" dirty="0"/>
              <a:t># Optional </a:t>
            </a:r>
            <a:r>
              <a:rPr lang="en-US" dirty="0" err="1"/>
              <a:t>npm</a:t>
            </a:r>
            <a:r>
              <a:rPr lang="en-US" dirty="0"/>
              <a:t> cache directory</a:t>
            </a:r>
          </a:p>
          <a:p>
            <a:pPr marL="0" indent="0">
              <a:buNone/>
            </a:pPr>
            <a:r>
              <a:rPr lang="en-US" dirty="0"/>
              <a:t>.</a:t>
            </a:r>
            <a:r>
              <a:rPr lang="en-US" dirty="0" err="1" smtClean="0"/>
              <a:t>npm</a:t>
            </a:r>
            <a:endParaRPr lang="ru-RU" dirty="0" smtClean="0"/>
          </a:p>
          <a:p>
            <a:pPr marL="0" indent="0">
              <a:buNone/>
            </a:pPr>
            <a:endParaRPr lang="ru-RU" dirty="0"/>
          </a:p>
          <a:p>
            <a:pPr marL="0" indent="0">
              <a:buNone/>
            </a:pPr>
            <a:r>
              <a:rPr lang="fr-FR" dirty="0"/>
              <a:t># </a:t>
            </a:r>
            <a:r>
              <a:rPr lang="fr-FR" dirty="0" err="1"/>
              <a:t>dotenv</a:t>
            </a:r>
            <a:r>
              <a:rPr lang="fr-FR" dirty="0"/>
              <a:t> </a:t>
            </a:r>
            <a:r>
              <a:rPr lang="fr-FR" dirty="0" err="1"/>
              <a:t>environment</a:t>
            </a:r>
            <a:r>
              <a:rPr lang="fr-FR" dirty="0"/>
              <a:t> variables file</a:t>
            </a:r>
          </a:p>
          <a:p>
            <a:pPr marL="0" indent="0">
              <a:buNone/>
            </a:pPr>
            <a:r>
              <a:rPr lang="fr-FR" dirty="0"/>
              <a:t>.</a:t>
            </a:r>
            <a:r>
              <a:rPr lang="fr-FR" dirty="0" err="1" smtClean="0"/>
              <a:t>env</a:t>
            </a:r>
            <a:endParaRPr lang="ru-RU" dirty="0" smtClean="0"/>
          </a:p>
          <a:p>
            <a:pPr marL="0" indent="0">
              <a:buNone/>
            </a:pPr>
            <a:endParaRPr lang="ru-RU" dirty="0"/>
          </a:p>
          <a:p>
            <a:pPr marL="0" indent="0">
              <a:buNone/>
            </a:pPr>
            <a:r>
              <a:rPr lang="en-US" dirty="0"/>
              <a:t># Other</a:t>
            </a:r>
          </a:p>
          <a:p>
            <a:pPr marL="0" indent="0">
              <a:buNone/>
            </a:pPr>
            <a:r>
              <a:rPr lang="en-US" dirty="0"/>
              <a:t>.</a:t>
            </a:r>
            <a:r>
              <a:rPr lang="en-US" dirty="0" err="1"/>
              <a:t>DS_Store</a:t>
            </a:r>
            <a:endParaRPr lang="en-US" dirty="0"/>
          </a:p>
          <a:p>
            <a:pPr marL="0" indent="0">
              <a:buNone/>
            </a:pPr>
            <a:r>
              <a:rPr lang="en-US" dirty="0"/>
              <a:t>.</a:t>
            </a:r>
            <a:r>
              <a:rPr lang="en-US" dirty="0" err="1"/>
              <a:t>vscode</a:t>
            </a:r>
            <a:r>
              <a:rPr lang="en-US" dirty="0"/>
              <a:t>/</a:t>
            </a:r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33476672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64364" y="475176"/>
            <a:ext cx="5876925" cy="3819525"/>
          </a:xfrm>
          <a:prstGeom prst="rect">
            <a:avLst/>
          </a:prstGeom>
        </p:spPr>
      </p:pic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npm</a:t>
            </a:r>
            <a:r>
              <a:rPr lang="en-US" dirty="0" smtClean="0"/>
              <a:t> </a:t>
            </a:r>
            <a:r>
              <a:rPr lang="en-US" dirty="0" err="1" smtClean="0"/>
              <a:t>init</a:t>
            </a:r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50907383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ot: </a:t>
            </a:r>
            <a:r>
              <a:rPr lang="en-US" dirty="0" err="1" smtClean="0"/>
              <a:t>init</a:t>
            </a:r>
            <a:endParaRPr lang="uk-UA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530475" y="1072516"/>
            <a:ext cx="8003232" cy="3253678"/>
          </a:xfrm>
        </p:spPr>
        <p:txBody>
          <a:bodyPr/>
          <a:lstStyle/>
          <a:p>
            <a:r>
              <a:rPr lang="en-US" dirty="0" smtClean="0"/>
              <a:t>Install bot builder SDK</a:t>
            </a:r>
          </a:p>
          <a:p>
            <a:pPr lvl="1"/>
            <a:r>
              <a:rPr lang="en-US" dirty="0" err="1"/>
              <a:t>npm</a:t>
            </a:r>
            <a:r>
              <a:rPr lang="en-US" dirty="0"/>
              <a:t> </a:t>
            </a:r>
            <a:r>
              <a:rPr lang="en-US" dirty="0" err="1" smtClean="0"/>
              <a:t>i</a:t>
            </a:r>
            <a:r>
              <a:rPr lang="en-US" dirty="0" smtClean="0"/>
              <a:t> </a:t>
            </a:r>
            <a:r>
              <a:rPr lang="en-US" dirty="0"/>
              <a:t>--save </a:t>
            </a:r>
            <a:r>
              <a:rPr lang="en-US" dirty="0"/>
              <a:t>botbuilder@3.15.0</a:t>
            </a:r>
            <a:endParaRPr lang="en-US" dirty="0" smtClean="0"/>
          </a:p>
          <a:p>
            <a:r>
              <a:rPr lang="en-US" dirty="0" smtClean="0"/>
              <a:t>Run Visual Studio Code</a:t>
            </a:r>
          </a:p>
          <a:p>
            <a:pPr lvl="1"/>
            <a:r>
              <a:rPr lang="en-US" dirty="0" smtClean="0"/>
              <a:t>Open folder “</a:t>
            </a:r>
            <a:r>
              <a:rPr lang="en-US" dirty="0" err="1" smtClean="0"/>
              <a:t>BotLab</a:t>
            </a:r>
            <a:r>
              <a:rPr lang="en-US" dirty="0" smtClean="0"/>
              <a:t>”</a:t>
            </a:r>
          </a:p>
          <a:p>
            <a:r>
              <a:rPr lang="en-US" dirty="0" smtClean="0"/>
              <a:t>Create </a:t>
            </a:r>
            <a:r>
              <a:rPr lang="en-US" dirty="0"/>
              <a:t>a new file named app.js.</a:t>
            </a:r>
            <a:endParaRPr lang="en-US" dirty="0" smtClean="0"/>
          </a:p>
          <a:p>
            <a:endParaRPr lang="en-US" dirty="0" smtClean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13644" y="140261"/>
            <a:ext cx="5400675" cy="1952625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13643" y="2207091"/>
            <a:ext cx="5400675" cy="23293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195349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infopulse">
      <a:dk1>
        <a:srgbClr val="4B4C4C"/>
      </a:dk1>
      <a:lt1>
        <a:srgbClr val="FFFFFF"/>
      </a:lt1>
      <a:dk2>
        <a:srgbClr val="2978A1"/>
      </a:dk2>
      <a:lt2>
        <a:srgbClr val="8BC53F"/>
      </a:lt2>
      <a:accent1>
        <a:srgbClr val="5B8AAF"/>
      </a:accent1>
      <a:accent2>
        <a:srgbClr val="80A0BF"/>
      </a:accent2>
      <a:accent3>
        <a:srgbClr val="A8BBD1"/>
      </a:accent3>
      <a:accent4>
        <a:srgbClr val="C2CCD8"/>
      </a:accent4>
      <a:accent5>
        <a:srgbClr val="ACD27A"/>
      </a:accent5>
      <a:accent6>
        <a:srgbClr val="9ECC5C"/>
      </a:accent6>
      <a:hlink>
        <a:srgbClr val="2978A1"/>
      </a:hlink>
      <a:folHlink>
        <a:srgbClr val="8BC53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EVRY">
  <a:themeElements>
    <a:clrScheme name="Evry">
      <a:dk1>
        <a:sysClr val="windowText" lastClr="000000"/>
      </a:dk1>
      <a:lt1>
        <a:sysClr val="window" lastClr="FFFFFF"/>
      </a:lt1>
      <a:dk2>
        <a:srgbClr val="376076"/>
      </a:dk2>
      <a:lt2>
        <a:srgbClr val="9BAFBA"/>
      </a:lt2>
      <a:accent1>
        <a:srgbClr val="063954"/>
      </a:accent1>
      <a:accent2>
        <a:srgbClr val="FF9800"/>
      </a:accent2>
      <a:accent3>
        <a:srgbClr val="F52882"/>
      </a:accent3>
      <a:accent4>
        <a:srgbClr val="7028B7"/>
      </a:accent4>
      <a:accent5>
        <a:srgbClr val="00C8C8"/>
      </a:accent5>
      <a:accent6>
        <a:srgbClr val="7F7F7F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-t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>
            <a:lumMod val="40000"/>
            <a:lumOff val="60000"/>
          </a:schemeClr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rmAutofit/>
      </a:bodyPr>
      <a:lstStyle>
        <a:defPPr>
          <a:lnSpc>
            <a:spcPts val="1800"/>
          </a:lnSpc>
          <a:defRPr kumimoji="0" sz="1300" b="0" i="0" u="none" strike="noStrike" kern="1200" cap="none" spc="0" normalizeH="0" baseline="0" dirty="0" err="1" smtClean="0">
            <a:ln>
              <a:noFill/>
            </a:ln>
            <a:solidFill>
              <a:srgbClr val="376076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EVRY_Template_Widesceen Artbox Ny versjon" id="{6215BB7C-512D-413E-AD8A-AAA0622E36A1}" vid="{CA7C8F4C-9FB4-40F2-B9DC-0214F926021E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39C71ACD16E404DB677CFB460DD1658" ma:contentTypeVersion="0" ma:contentTypeDescription="Create a new document." ma:contentTypeScope="" ma:versionID="60e58a1b666f092f05be13674f28daf6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2FF7D27-EF9C-455C-9F84-1373B010CB14}">
  <ds:schemaRefs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348CDFEE-FB9A-485E-B974-5D7106D7F71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7C147DD7-B039-4327-936E-38439B9C711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1683</TotalTime>
  <Words>1048</Words>
  <Application>Microsoft Office PowerPoint</Application>
  <PresentationFormat>On-screen Show (16:9)</PresentationFormat>
  <Paragraphs>261</Paragraphs>
  <Slides>35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5</vt:i4>
      </vt:variant>
    </vt:vector>
  </HeadingPairs>
  <TitlesOfParts>
    <vt:vector size="41" baseType="lpstr">
      <vt:lpstr>Arial</vt:lpstr>
      <vt:lpstr>Calibri</vt:lpstr>
      <vt:lpstr>Consolas</vt:lpstr>
      <vt:lpstr>Office Theme</vt:lpstr>
      <vt:lpstr>EVRY</vt:lpstr>
      <vt:lpstr>think-cell Slide</vt:lpstr>
      <vt:lpstr>PowerPoint Presentation</vt:lpstr>
      <vt:lpstr>Intro</vt:lpstr>
      <vt:lpstr>Prerequisites</vt:lpstr>
      <vt:lpstr>Agenda</vt:lpstr>
      <vt:lpstr>Bot architecture</vt:lpstr>
      <vt:lpstr>Bot: init</vt:lpstr>
      <vt:lpstr>.gitignore</vt:lpstr>
      <vt:lpstr>npm init</vt:lpstr>
      <vt:lpstr>Bot: init</vt:lpstr>
      <vt:lpstr>Console Bot: App.js</vt:lpstr>
      <vt:lpstr>Console Bot: run</vt:lpstr>
      <vt:lpstr>Push changes</vt:lpstr>
      <vt:lpstr>Echo bot</vt:lpstr>
      <vt:lpstr>Echo Bot: app.js</vt:lpstr>
      <vt:lpstr>Echo Bot: run</vt:lpstr>
      <vt:lpstr>In Memory Storage</vt:lpstr>
      <vt:lpstr>i18n</vt:lpstr>
      <vt:lpstr>Greeting</vt:lpstr>
      <vt:lpstr>Prompt user input</vt:lpstr>
      <vt:lpstr>Conversation flow</vt:lpstr>
      <vt:lpstr>Improved perception</vt:lpstr>
      <vt:lpstr>PowerPoint Presentation</vt:lpstr>
      <vt:lpstr>Publish Bot: Step 1</vt:lpstr>
      <vt:lpstr>Application Registration</vt:lpstr>
      <vt:lpstr>Publish Bot: Step 2</vt:lpstr>
      <vt:lpstr>Publish Bot: Step 3</vt:lpstr>
      <vt:lpstr>PowerPoint Presentation</vt:lpstr>
      <vt:lpstr>Setup mongodb</vt:lpstr>
      <vt:lpstr>Model and Schema</vt:lpstr>
      <vt:lpstr>Init DB</vt:lpstr>
      <vt:lpstr>Query DB and format output</vt:lpstr>
      <vt:lpstr>Query menu information</vt:lpstr>
      <vt:lpstr>Demo</vt:lpstr>
      <vt:lpstr>PowerPoint Presentation</vt:lpstr>
      <vt:lpstr>PowerPoint Presentation</vt:lpstr>
    </vt:vector>
  </TitlesOfParts>
  <Company>hom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Infopulse</dc:creator>
  <cp:lastModifiedBy> </cp:lastModifiedBy>
  <cp:revision>1505</cp:revision>
  <dcterms:created xsi:type="dcterms:W3CDTF">2013-03-20T15:42:31Z</dcterms:created>
  <dcterms:modified xsi:type="dcterms:W3CDTF">2018-09-27T18:18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39C71ACD16E404DB677CFB460DD1658</vt:lpwstr>
  </property>
  <property fmtid="{D5CDD505-2E9C-101B-9397-08002B2CF9AE}" pid="3" name="Technology">
    <vt:lpwstr/>
  </property>
  <property fmtid="{D5CDD505-2E9C-101B-9397-08002B2CF9AE}" pid="4" name="Service">
    <vt:lpwstr/>
  </property>
  <property fmtid="{D5CDD505-2E9C-101B-9397-08002B2CF9AE}" pid="5" name="Customer">
    <vt:lpwstr/>
  </property>
  <property fmtid="{D5CDD505-2E9C-101B-9397-08002B2CF9AE}" pid="6" name="Industry">
    <vt:lpwstr/>
  </property>
  <property fmtid="{D5CDD505-2E9C-101B-9397-08002B2CF9AE}" pid="7" name="ShortLongForm">
    <vt:lpwstr/>
  </property>
  <property fmtid="{D5CDD505-2E9C-101B-9397-08002B2CF9AE}" pid="8" name="AccountManager">
    <vt:lpwstr/>
  </property>
  <property fmtid="{D5CDD505-2E9C-101B-9397-08002B2CF9AE}" pid="9" name="Country">
    <vt:lpwstr/>
  </property>
</Properties>
</file>